
<file path=[Content_Types].xml><?xml version="1.0" encoding="utf-8"?>
<Types xmlns="http://schemas.openxmlformats.org/package/2006/content-types">
  <Default Extension="bin" ContentType="application/vnd.openxmlformats-officedocument.oleObject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3" r:id="rId4"/>
    <p:sldMasterId id="2147483760" r:id="rId5"/>
  </p:sldMasterIdLst>
  <p:notesMasterIdLst>
    <p:notesMasterId r:id="rId8"/>
  </p:notesMasterIdLst>
  <p:handoutMasterIdLst>
    <p:handoutMasterId r:id="rId9"/>
  </p:handoutMasterIdLst>
  <p:sldIdLst>
    <p:sldId id="2147478475" r:id="rId6"/>
    <p:sldId id="2147478476" r:id="rId7"/>
  </p:sldIdLst>
  <p:sldSz cx="12192000" cy="6858000"/>
  <p:notesSz cx="6797675" cy="9928225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orient="horz" pos="391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1139" userDrawn="1">
          <p15:clr>
            <a:srgbClr val="A4A3A4"/>
          </p15:clr>
        </p15:guide>
        <p15:guide id="6" orient="horz" pos="164" userDrawn="1">
          <p15:clr>
            <a:srgbClr val="A4A3A4"/>
          </p15:clr>
        </p15:guide>
        <p15:guide id="7" pos="7514" userDrawn="1">
          <p15:clr>
            <a:srgbClr val="A4A3A4"/>
          </p15:clr>
        </p15:guide>
        <p15:guide id="8" pos="6139" userDrawn="1">
          <p15:clr>
            <a:srgbClr val="A4A3A4"/>
          </p15:clr>
        </p15:guide>
        <p15:guide id="9" pos="234" userDrawn="1">
          <p15:clr>
            <a:srgbClr val="A4A3A4"/>
          </p15:clr>
        </p15:guide>
        <p15:guide id="10" pos="5972" userDrawn="1">
          <p15:clr>
            <a:srgbClr val="A4A3A4"/>
          </p15:clr>
        </p15:guide>
        <p15:guide id="11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79" userDrawn="1">
          <p15:clr>
            <a:srgbClr val="A4A3A4"/>
          </p15:clr>
        </p15:guide>
        <p15:guide id="2" pos="163" userDrawn="1">
          <p15:clr>
            <a:srgbClr val="A4A3A4"/>
          </p15:clr>
        </p15:guide>
        <p15:guide id="3" pos="411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5E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4"/>
    <p:restoredTop sz="94626"/>
  </p:normalViewPr>
  <p:slideViewPr>
    <p:cSldViewPr snapToGrid="0">
      <p:cViewPr varScale="1">
        <p:scale>
          <a:sx n="103" d="100"/>
          <a:sy n="103" d="100"/>
        </p:scale>
        <p:origin x="184" y="560"/>
      </p:cViewPr>
      <p:guideLst>
        <p:guide orient="horz" pos="3884"/>
        <p:guide orient="horz" pos="391"/>
        <p:guide orient="horz" pos="4110"/>
        <p:guide orient="horz" pos="436"/>
        <p:guide orient="horz" pos="1139"/>
        <p:guide orient="horz" pos="164"/>
        <p:guide pos="7514"/>
        <p:guide pos="6139"/>
        <p:guide pos="234"/>
        <p:guide pos="5972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79"/>
        <p:guide pos="163"/>
        <p:guide pos="4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heme" Target="../theme/theme4.xml"/><Relationship Id="rId4" Type="http://schemas.openxmlformats.org/officeDocument/2006/relationships/tags" Target="../tags/tag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9567133"/>
            <a:ext cx="6797675" cy="3610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58060" y="9567133"/>
            <a:ext cx="1347284" cy="361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>
                <a:solidFill>
                  <a:schemeClr val="bg2"/>
                </a:solidFill>
              </a:rPr>
              <a:t>Senacor Technologies</a:t>
            </a:r>
            <a:r>
              <a:rPr lang="de-DE" sz="800" baseline="0">
                <a:solidFill>
                  <a:schemeClr val="bg2"/>
                </a:solidFill>
              </a:rPr>
              <a:t> AG</a:t>
            </a:r>
            <a:endParaRPr lang="de-DE" sz="80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33030" y="9567134"/>
            <a:ext cx="713766" cy="362225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5279BF68-7B50-4A67-8B66-E4F54C3BAC6A}" type="datetime8">
              <a:rPr lang="de-DE" smtClean="0"/>
              <a:t>03.06.25 12:45</a:t>
            </a:fld>
            <a:endParaRPr lang="de-DE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42319" y="9567133"/>
            <a:ext cx="3283323" cy="36109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896657" y="9567133"/>
            <a:ext cx="642958" cy="3599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heme" Target="../theme/theme3.xml"/><Relationship Id="rId4" Type="http://schemas.openxmlformats.org/officeDocument/2006/relationships/tags" Target="../tags/tag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784225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58060" y="4715907"/>
            <a:ext cx="6281555" cy="446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9567133"/>
            <a:ext cx="6797675" cy="3610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58060" y="9567133"/>
            <a:ext cx="1347284" cy="361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>
                <a:solidFill>
                  <a:schemeClr val="bg2"/>
                </a:solidFill>
              </a:rPr>
              <a:t>Senacor Technologies</a:t>
            </a:r>
            <a:r>
              <a:rPr lang="de-DE" sz="800" baseline="0">
                <a:solidFill>
                  <a:schemeClr val="bg2"/>
                </a:solidFill>
              </a:rPr>
              <a:t> AG</a:t>
            </a:r>
            <a:endParaRPr lang="de-DE" sz="80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33030" y="9567134"/>
            <a:ext cx="713766" cy="362225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9B4DC225-19C7-4F25-A4FC-32DCE4EDB325}" type="datetime8">
              <a:rPr lang="de-DE" smtClean="0"/>
              <a:t>03.06.25 12:45</a:t>
            </a:fld>
            <a:endParaRPr lang="de-DE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42319" y="9567133"/>
            <a:ext cx="3283323" cy="36109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896657" y="9567133"/>
            <a:ext cx="642958" cy="3599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oleObject" Target="../embeddings/oleObject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oleObject" Target="../embeddings/oleObject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oleObject" Target="../embeddings/oleObject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oleObject" Target="../embeddings/oleObject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oleObject" Target="../embeddings/oleObject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oleObject" Target="../embeddings/oleObject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oleObject" Target="../embeddings/oleObject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oleObject" Target="../embeddings/oleObject1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75BA6B-F8C2-E807-8022-A1B4DE60EA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28849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5A01BE-687A-73AA-CDAA-6AF5D6EE4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81469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180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6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27">
            <a:extLst>
              <a:ext uri="{FF2B5EF4-FFF2-40B4-BE49-F238E27FC236}">
                <a16:creationId xmlns:a16="http://schemas.microsoft.com/office/drawing/2014/main" id="{6832BC50-CB14-A9FF-356C-FA925C21D70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841" y="4032000"/>
            <a:ext cx="2700962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0" name="Inhaltsplatzhalter 29">
            <a:extLst>
              <a:ext uri="{FF2B5EF4-FFF2-40B4-BE49-F238E27FC236}">
                <a16:creationId xmlns:a16="http://schemas.microsoft.com/office/drawing/2014/main" id="{C39AA555-B072-B329-BB31-96116F1479A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4225" y="4032000"/>
            <a:ext cx="2700338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31">
            <a:extLst>
              <a:ext uri="{FF2B5EF4-FFF2-40B4-BE49-F238E27FC236}">
                <a16:creationId xmlns:a16="http://schemas.microsoft.com/office/drawing/2014/main" id="{0D398196-4C4F-14C8-5746-4E3B2100FE1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7438" y="4032000"/>
            <a:ext cx="2699375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2" name="Inhaltsplatzhalter 33">
            <a:extLst>
              <a:ext uri="{FF2B5EF4-FFF2-40B4-BE49-F238E27FC236}">
                <a16:creationId xmlns:a16="http://schemas.microsoft.com/office/drawing/2014/main" id="{6A63AFE8-A5D7-3EDC-B0C1-3DC44C1D10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2236" y="4032000"/>
            <a:ext cx="270033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90069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orient="horz" pos="2432">
          <p15:clr>
            <a:srgbClr val="FBAE40"/>
          </p15:clr>
        </p15:guide>
        <p15:guide id="8" orient="horz" pos="2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25B8628-142D-7ED1-68D7-25FD892A12F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64025" cy="4500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7898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1667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9181667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9181667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BFF90CE-A2FF-C02C-F80D-4DE000A6C398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3C70CF-753F-D510-E895-E3CFD6EB45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28" name="Freihandform: Form 7">
              <a:extLst>
                <a:ext uri="{FF2B5EF4-FFF2-40B4-BE49-F238E27FC236}">
                  <a16:creationId xmlns:a16="http://schemas.microsoft.com/office/drawing/2014/main" id="{5CDB7669-1DB2-0FAC-F801-24DEB2DD274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8">
              <a:extLst>
                <a:ext uri="{FF2B5EF4-FFF2-40B4-BE49-F238E27FC236}">
                  <a16:creationId xmlns:a16="http://schemas.microsoft.com/office/drawing/2014/main" id="{27FB14C3-E947-F413-8FD2-A7AF1E7989E9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9">
              <a:extLst>
                <a:ext uri="{FF2B5EF4-FFF2-40B4-BE49-F238E27FC236}">
                  <a16:creationId xmlns:a16="http://schemas.microsoft.com/office/drawing/2014/main" id="{28A2959C-3FEE-8DF2-EE48-3A24798455B6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10">
              <a:extLst>
                <a:ext uri="{FF2B5EF4-FFF2-40B4-BE49-F238E27FC236}">
                  <a16:creationId xmlns:a16="http://schemas.microsoft.com/office/drawing/2014/main" id="{795D6829-EB25-0728-76A8-AB446BA22CE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1">
              <a:extLst>
                <a:ext uri="{FF2B5EF4-FFF2-40B4-BE49-F238E27FC236}">
                  <a16:creationId xmlns:a16="http://schemas.microsoft.com/office/drawing/2014/main" id="{0B852306-ADD4-B60B-EC90-CC7B5907D9C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2">
              <a:extLst>
                <a:ext uri="{FF2B5EF4-FFF2-40B4-BE49-F238E27FC236}">
                  <a16:creationId xmlns:a16="http://schemas.microsoft.com/office/drawing/2014/main" id="{5F3B4D96-3417-D8F2-FD63-C5B77B61045F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3">
              <a:extLst>
                <a:ext uri="{FF2B5EF4-FFF2-40B4-BE49-F238E27FC236}">
                  <a16:creationId xmlns:a16="http://schemas.microsoft.com/office/drawing/2014/main" id="{B82861F6-CFA3-DF75-5B2D-72F5B0766AF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3441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6085">
          <p15:clr>
            <a:srgbClr val="FBAE40"/>
          </p15:clr>
        </p15:guide>
        <p15:guide id="4" pos="61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53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7525375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435976" y="4249"/>
            <a:ext cx="3756024" cy="63817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30531" y="36526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C955738-85FF-4E89-54A5-AB65B8D1F60A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37" name="Freihandform: Form 7">
              <a:extLst>
                <a:ext uri="{FF2B5EF4-FFF2-40B4-BE49-F238E27FC236}">
                  <a16:creationId xmlns:a16="http://schemas.microsoft.com/office/drawing/2014/main" id="{D715445B-CD05-D140-6FE5-1FDB2E84F24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Freihandform: Form 8">
              <a:extLst>
                <a:ext uri="{FF2B5EF4-FFF2-40B4-BE49-F238E27FC236}">
                  <a16:creationId xmlns:a16="http://schemas.microsoft.com/office/drawing/2014/main" id="{655D33F0-DE72-7BB7-8145-6F90A4D120A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Freihandform: Form 9">
              <a:extLst>
                <a:ext uri="{FF2B5EF4-FFF2-40B4-BE49-F238E27FC236}">
                  <a16:creationId xmlns:a16="http://schemas.microsoft.com/office/drawing/2014/main" id="{1E15F16B-2252-32ED-59A4-6DC75FCAC06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Freihandform: Form 10">
              <a:extLst>
                <a:ext uri="{FF2B5EF4-FFF2-40B4-BE49-F238E27FC236}">
                  <a16:creationId xmlns:a16="http://schemas.microsoft.com/office/drawing/2014/main" id="{ED68C76F-A021-3F5C-E347-8D19FE69D18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Freihandform: Form 11">
              <a:extLst>
                <a:ext uri="{FF2B5EF4-FFF2-40B4-BE49-F238E27FC236}">
                  <a16:creationId xmlns:a16="http://schemas.microsoft.com/office/drawing/2014/main" id="{1C6BD9A9-431D-E021-23A4-BDDEDB30501C}"/>
                </a:ext>
              </a:extLst>
            </p:cNvPr>
            <p:cNvSpPr/>
            <p:nvPr userDrawn="1"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Freihandform: Form 12">
              <a:extLst>
                <a:ext uri="{FF2B5EF4-FFF2-40B4-BE49-F238E27FC236}">
                  <a16:creationId xmlns:a16="http://schemas.microsoft.com/office/drawing/2014/main" id="{F369213B-E233-D1BD-714A-C282781A718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ihandform: Form 13">
              <a:extLst>
                <a:ext uri="{FF2B5EF4-FFF2-40B4-BE49-F238E27FC236}">
                  <a16:creationId xmlns:a16="http://schemas.microsoft.com/office/drawing/2014/main" id="{20528F7C-A5C0-322F-15A7-A6EB0EBB116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5730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42">
          <p15:clr>
            <a:srgbClr val="FBAE40"/>
          </p15:clr>
        </p15:guide>
        <p15:guide id="3" pos="5178">
          <p15:clr>
            <a:srgbClr val="FBAE40"/>
          </p15:clr>
        </p15:guide>
        <p15:guide id="4" pos="531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1" y="396000"/>
            <a:ext cx="5472738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5472738" cy="450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50AB6BBE-0061-31AA-C7C9-1D13AD444AF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3" y="0"/>
            <a:ext cx="5951537" cy="63817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978CC3F-43EF-C41F-FF6F-3A1821D12AEC}"/>
              </a:ext>
            </a:extLst>
          </p:cNvPr>
          <p:cNvGrpSpPr/>
          <p:nvPr userDrawn="1"/>
        </p:nvGrpSpPr>
        <p:grpSpPr>
          <a:xfrm>
            <a:off x="10240056" y="333510"/>
            <a:ext cx="1472671" cy="212964"/>
            <a:chOff x="10240056" y="330434"/>
            <a:chExt cx="1472671" cy="212964"/>
          </a:xfrm>
        </p:grpSpPr>
        <p:sp>
          <p:nvSpPr>
            <p:cNvPr id="29" name="Freihandform: Form 7">
              <a:extLst>
                <a:ext uri="{FF2B5EF4-FFF2-40B4-BE49-F238E27FC236}">
                  <a16:creationId xmlns:a16="http://schemas.microsoft.com/office/drawing/2014/main" id="{994FB37B-455B-ED21-9864-D0A29776AFF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8">
              <a:extLst>
                <a:ext uri="{FF2B5EF4-FFF2-40B4-BE49-F238E27FC236}">
                  <a16:creationId xmlns:a16="http://schemas.microsoft.com/office/drawing/2014/main" id="{CFA7F90D-C968-E5FF-CA07-3EA7301C8E7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ihandform: Form 9">
              <a:extLst>
                <a:ext uri="{FF2B5EF4-FFF2-40B4-BE49-F238E27FC236}">
                  <a16:creationId xmlns:a16="http://schemas.microsoft.com/office/drawing/2014/main" id="{274C797D-2B6E-00A4-DA0B-9FF063CE54E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ihandform: Form 10">
              <a:extLst>
                <a:ext uri="{FF2B5EF4-FFF2-40B4-BE49-F238E27FC236}">
                  <a16:creationId xmlns:a16="http://schemas.microsoft.com/office/drawing/2014/main" id="{03B23200-5FEC-8BAB-90A4-3B2A4977D6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ihandform: Form 11">
              <a:extLst>
                <a:ext uri="{FF2B5EF4-FFF2-40B4-BE49-F238E27FC236}">
                  <a16:creationId xmlns:a16="http://schemas.microsoft.com/office/drawing/2014/main" id="{351EFA1C-8B85-0BFA-4558-18EF2537A881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ihandform: Form 12">
              <a:extLst>
                <a:ext uri="{FF2B5EF4-FFF2-40B4-BE49-F238E27FC236}">
                  <a16:creationId xmlns:a16="http://schemas.microsoft.com/office/drawing/2014/main" id="{9A2AFE66-B8AD-04BA-389A-00A6E15190E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Freihandform: Form 13">
              <a:extLst>
                <a:ext uri="{FF2B5EF4-FFF2-40B4-BE49-F238E27FC236}">
                  <a16:creationId xmlns:a16="http://schemas.microsoft.com/office/drawing/2014/main" id="{23F8B919-D2D3-C296-0382-3E894102D8A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E17F75F-BC35-D4DC-FD0E-17F3F27921B9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D35FE251-4C46-AFE1-622E-62FF0BB7E24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40034F92-27D8-24F6-F38C-DE70FC67E0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1489A1B-9633-5BD2-B3D2-EF79EA42BE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EBE72D7-EDD3-F309-E174-E30ED1CEA3B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94353866-F3D3-CBF0-47F0-5937D4B8946B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7CF9938-8004-AE5D-C723-D663967E854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C8FA3D1-CA91-E403-21D8-2671789E5F4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7043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74116D9-19C4-8998-4BFB-1EF6E55BE74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24" name="Freihandform: Form 7">
              <a:extLst>
                <a:ext uri="{FF2B5EF4-FFF2-40B4-BE49-F238E27FC236}">
                  <a16:creationId xmlns:a16="http://schemas.microsoft.com/office/drawing/2014/main" id="{8DFA4C63-152A-DE5D-8685-48251602585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8">
              <a:extLst>
                <a:ext uri="{FF2B5EF4-FFF2-40B4-BE49-F238E27FC236}">
                  <a16:creationId xmlns:a16="http://schemas.microsoft.com/office/drawing/2014/main" id="{3F231653-1AEE-12DA-A8E9-FF3E1FC37F3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Freihandform: Form 9">
              <a:extLst>
                <a:ext uri="{FF2B5EF4-FFF2-40B4-BE49-F238E27FC236}">
                  <a16:creationId xmlns:a16="http://schemas.microsoft.com/office/drawing/2014/main" id="{5481FC86-F6D6-A2B6-B975-6F20390D46C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Freihandform: Form 10">
              <a:extLst>
                <a:ext uri="{FF2B5EF4-FFF2-40B4-BE49-F238E27FC236}">
                  <a16:creationId xmlns:a16="http://schemas.microsoft.com/office/drawing/2014/main" id="{4129373B-C3BE-9541-3832-6E92DE947B7B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0AA3BAE7-6DC3-9FE4-6C4B-CDD907363E5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F8F03606-DE20-CD1F-8922-44A49F5C287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DA975CBB-FFBE-8484-0724-0B9B5359364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3D47A0C-CCFC-13C2-E381-9DD99A1D3A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67E8F10F-2EFF-7F88-C1A3-124B136348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108C260D-4E48-6C99-0114-858537CDFE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DAAEA888-935A-E5B1-EE8A-69EEEF60BB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3EA537A4-7DCF-198D-C96D-CA34D6E1C19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0CE8FF73-8541-E49E-E067-9481DD56E38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809124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rafik 60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F8D94991-621D-1918-1F3C-E09749868ABA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platzhalter 22">
            <a:extLst>
              <a:ext uri="{FF2B5EF4-FFF2-40B4-BE49-F238E27FC236}">
                <a16:creationId xmlns:a16="http://schemas.microsoft.com/office/drawing/2014/main" id="{4FD97F01-8991-8476-52EA-1023CB8F9A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5EFD14C4-45EE-5504-7E94-52BF73C169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5" name="Textplatzhalter 22">
            <a:extLst>
              <a:ext uri="{FF2B5EF4-FFF2-40B4-BE49-F238E27FC236}">
                <a16:creationId xmlns:a16="http://schemas.microsoft.com/office/drawing/2014/main" id="{BA34C179-8D2F-19E1-475E-5262BE7848B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AEE2AFB2-B973-3AA3-9FB0-534A5975DB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2C7778B-3773-E643-B5AF-2CAC47EA2B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76C4961A-A220-29F5-5B2D-B56E0D2447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48E41A8-056B-67A3-AE3B-70BB8DC62585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77D9B00D-39CF-9D4A-182E-A6473C7D2A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CABB9250-D0AF-BD5F-5D37-D25CBD23DCD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8">
            <a:extLst>
              <a:ext uri="{FF2B5EF4-FFF2-40B4-BE49-F238E27FC236}">
                <a16:creationId xmlns:a16="http://schemas.microsoft.com/office/drawing/2014/main" id="{72BD2FC9-0253-0AA2-BF95-B8DA338BC4A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9">
            <a:extLst>
              <a:ext uri="{FF2B5EF4-FFF2-40B4-BE49-F238E27FC236}">
                <a16:creationId xmlns:a16="http://schemas.microsoft.com/office/drawing/2014/main" id="{D49B95D5-FF21-FAFA-D409-3C5271929EFC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0">
            <a:extLst>
              <a:ext uri="{FF2B5EF4-FFF2-40B4-BE49-F238E27FC236}">
                <a16:creationId xmlns:a16="http://schemas.microsoft.com/office/drawing/2014/main" id="{5A485468-CBE1-84E6-8A8D-5E8237F905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49">
            <a:extLst>
              <a:ext uri="{FF2B5EF4-FFF2-40B4-BE49-F238E27FC236}">
                <a16:creationId xmlns:a16="http://schemas.microsoft.com/office/drawing/2014/main" id="{AE9007DE-4214-02C7-D515-77E6FB6C5B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0">
            <a:extLst>
              <a:ext uri="{FF2B5EF4-FFF2-40B4-BE49-F238E27FC236}">
                <a16:creationId xmlns:a16="http://schemas.microsoft.com/office/drawing/2014/main" id="{74E8E4F5-5014-A425-B458-F517F1C1EFE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1">
            <a:extLst>
              <a:ext uri="{FF2B5EF4-FFF2-40B4-BE49-F238E27FC236}">
                <a16:creationId xmlns:a16="http://schemas.microsoft.com/office/drawing/2014/main" id="{8FB24DBD-9934-733D-55CC-BB44884C4BFE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2">
            <a:extLst>
              <a:ext uri="{FF2B5EF4-FFF2-40B4-BE49-F238E27FC236}">
                <a16:creationId xmlns:a16="http://schemas.microsoft.com/office/drawing/2014/main" id="{4C1F7AD6-D025-9F37-A0D9-46328705671C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3">
            <a:extLst>
              <a:ext uri="{FF2B5EF4-FFF2-40B4-BE49-F238E27FC236}">
                <a16:creationId xmlns:a16="http://schemas.microsoft.com/office/drawing/2014/main" id="{FB8F5AD9-C12B-0E20-5037-C53B5B29F20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4">
            <a:extLst>
              <a:ext uri="{FF2B5EF4-FFF2-40B4-BE49-F238E27FC236}">
                <a16:creationId xmlns:a16="http://schemas.microsoft.com/office/drawing/2014/main" id="{7F4C6D23-6798-1A39-BDC5-E2C5AAB5624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5">
            <a:extLst>
              <a:ext uri="{FF2B5EF4-FFF2-40B4-BE49-F238E27FC236}">
                <a16:creationId xmlns:a16="http://schemas.microsoft.com/office/drawing/2014/main" id="{53406A94-7EAD-AC7E-58ED-59491933FEC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56">
            <a:extLst>
              <a:ext uri="{FF2B5EF4-FFF2-40B4-BE49-F238E27FC236}">
                <a16:creationId xmlns:a16="http://schemas.microsoft.com/office/drawing/2014/main" id="{ACF9E571-5ACF-A0C7-497F-5CEAE2BECAA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57">
            <a:extLst>
              <a:ext uri="{FF2B5EF4-FFF2-40B4-BE49-F238E27FC236}">
                <a16:creationId xmlns:a16="http://schemas.microsoft.com/office/drawing/2014/main" id="{2FD4EC0C-6E49-FBEC-A9F3-F35393013C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58">
            <a:extLst>
              <a:ext uri="{FF2B5EF4-FFF2-40B4-BE49-F238E27FC236}">
                <a16:creationId xmlns:a16="http://schemas.microsoft.com/office/drawing/2014/main" id="{5A35BD7A-D2B0-6427-557E-C8543912D9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59">
            <a:extLst>
              <a:ext uri="{FF2B5EF4-FFF2-40B4-BE49-F238E27FC236}">
                <a16:creationId xmlns:a16="http://schemas.microsoft.com/office/drawing/2014/main" id="{5723F194-1201-A41F-ACD9-6926DB727F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0">
            <a:extLst>
              <a:ext uri="{FF2B5EF4-FFF2-40B4-BE49-F238E27FC236}">
                <a16:creationId xmlns:a16="http://schemas.microsoft.com/office/drawing/2014/main" id="{B0906E4E-4BEA-0A4E-73ED-A62C5F9EAAB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61">
            <a:extLst>
              <a:ext uri="{FF2B5EF4-FFF2-40B4-BE49-F238E27FC236}">
                <a16:creationId xmlns:a16="http://schemas.microsoft.com/office/drawing/2014/main" id="{9DFBC9B9-7688-3627-3709-BFC198DB0BB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62">
            <a:extLst>
              <a:ext uri="{FF2B5EF4-FFF2-40B4-BE49-F238E27FC236}">
                <a16:creationId xmlns:a16="http://schemas.microsoft.com/office/drawing/2014/main" id="{3EE9DFA6-6FCE-E187-C091-AA009C683A84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67">
            <a:extLst>
              <a:ext uri="{FF2B5EF4-FFF2-40B4-BE49-F238E27FC236}">
                <a16:creationId xmlns:a16="http://schemas.microsoft.com/office/drawing/2014/main" id="{169D446B-197B-E8E4-C4B8-6B9270531177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68">
            <a:extLst>
              <a:ext uri="{FF2B5EF4-FFF2-40B4-BE49-F238E27FC236}">
                <a16:creationId xmlns:a16="http://schemas.microsoft.com/office/drawing/2014/main" id="{6E0B7851-F7B8-B03C-5C36-A930577B19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69">
            <a:extLst>
              <a:ext uri="{FF2B5EF4-FFF2-40B4-BE49-F238E27FC236}">
                <a16:creationId xmlns:a16="http://schemas.microsoft.com/office/drawing/2014/main" id="{0C8E6F93-2B36-5905-602F-AD78AE860C9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70">
            <a:extLst>
              <a:ext uri="{FF2B5EF4-FFF2-40B4-BE49-F238E27FC236}">
                <a16:creationId xmlns:a16="http://schemas.microsoft.com/office/drawing/2014/main" id="{37529014-D070-0403-0AE3-F5B48030A0E4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71">
            <a:extLst>
              <a:ext uri="{FF2B5EF4-FFF2-40B4-BE49-F238E27FC236}">
                <a16:creationId xmlns:a16="http://schemas.microsoft.com/office/drawing/2014/main" id="{06302699-CCAD-14A4-F629-AB01351BB940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72">
            <a:extLst>
              <a:ext uri="{FF2B5EF4-FFF2-40B4-BE49-F238E27FC236}">
                <a16:creationId xmlns:a16="http://schemas.microsoft.com/office/drawing/2014/main" id="{955332B1-5AAE-C76A-F8B3-FF82D585B82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73">
            <a:extLst>
              <a:ext uri="{FF2B5EF4-FFF2-40B4-BE49-F238E27FC236}">
                <a16:creationId xmlns:a16="http://schemas.microsoft.com/office/drawing/2014/main" id="{B81807EF-C0CF-37C3-FF37-68E3262AA91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74">
            <a:extLst>
              <a:ext uri="{FF2B5EF4-FFF2-40B4-BE49-F238E27FC236}">
                <a16:creationId xmlns:a16="http://schemas.microsoft.com/office/drawing/2014/main" id="{C2B1CA07-82B7-94E6-D504-8652592BC77B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E20FEDB6-1966-6896-4E59-7421D7E04F0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DEA6FB98-3799-B5ED-E790-548FC83FCE1E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10">
            <a:extLst>
              <a:ext uri="{FF2B5EF4-FFF2-40B4-BE49-F238E27FC236}">
                <a16:creationId xmlns:a16="http://schemas.microsoft.com/office/drawing/2014/main" id="{A967CE3D-3AB3-D1E8-4F7B-443EDC39D03A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1">
            <a:extLst>
              <a:ext uri="{FF2B5EF4-FFF2-40B4-BE49-F238E27FC236}">
                <a16:creationId xmlns:a16="http://schemas.microsoft.com/office/drawing/2014/main" id="{D6D4AFB2-BF56-8827-9501-E6E73DE1D508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75">
            <a:extLst>
              <a:ext uri="{FF2B5EF4-FFF2-40B4-BE49-F238E27FC236}">
                <a16:creationId xmlns:a16="http://schemas.microsoft.com/office/drawing/2014/main" id="{A677B47C-279E-34C6-CA11-9C0A4D1E9BBB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76">
            <a:extLst>
              <a:ext uri="{FF2B5EF4-FFF2-40B4-BE49-F238E27FC236}">
                <a16:creationId xmlns:a16="http://schemas.microsoft.com/office/drawing/2014/main" id="{9942370D-349D-6654-E03F-DACCA1146F4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E8BCD61A-60CA-E778-8FAF-D84C70AC046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3" name="Freihandform: Form 7">
              <a:extLst>
                <a:ext uri="{FF2B5EF4-FFF2-40B4-BE49-F238E27FC236}">
                  <a16:creationId xmlns:a16="http://schemas.microsoft.com/office/drawing/2014/main" id="{5CEBBD40-7D4F-BBE2-9520-8DCB1C62183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Freihandform: Form 8">
              <a:extLst>
                <a:ext uri="{FF2B5EF4-FFF2-40B4-BE49-F238E27FC236}">
                  <a16:creationId xmlns:a16="http://schemas.microsoft.com/office/drawing/2014/main" id="{84E06951-BDC1-7169-A1B1-A8C52C39513D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Freihandform: Form 9">
              <a:extLst>
                <a:ext uri="{FF2B5EF4-FFF2-40B4-BE49-F238E27FC236}">
                  <a16:creationId xmlns:a16="http://schemas.microsoft.com/office/drawing/2014/main" id="{B113BD63-0DCF-81D7-2EAA-04FCD5B9B48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Freihandform: Form 10">
              <a:extLst>
                <a:ext uri="{FF2B5EF4-FFF2-40B4-BE49-F238E27FC236}">
                  <a16:creationId xmlns:a16="http://schemas.microsoft.com/office/drawing/2014/main" id="{74A0185C-7545-2884-AFBC-160292078BE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Freihandform: Form 11">
              <a:extLst>
                <a:ext uri="{FF2B5EF4-FFF2-40B4-BE49-F238E27FC236}">
                  <a16:creationId xmlns:a16="http://schemas.microsoft.com/office/drawing/2014/main" id="{3A15687B-F925-2EC5-A5B7-BA2320237F8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ihandform: Form 12">
              <a:extLst>
                <a:ext uri="{FF2B5EF4-FFF2-40B4-BE49-F238E27FC236}">
                  <a16:creationId xmlns:a16="http://schemas.microsoft.com/office/drawing/2014/main" id="{470881D5-51DF-7717-4AA3-64AD818624D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ihandform: Form 13">
              <a:extLst>
                <a:ext uri="{FF2B5EF4-FFF2-40B4-BE49-F238E27FC236}">
                  <a16:creationId xmlns:a16="http://schemas.microsoft.com/office/drawing/2014/main" id="{CA5F1405-18A5-1DC9-39FC-857C0BAFD184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AB262DF5-D896-82D8-BB53-D57978121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5" name="Textplatzhalter 8">
            <a:extLst>
              <a:ext uri="{FF2B5EF4-FFF2-40B4-BE49-F238E27FC236}">
                <a16:creationId xmlns:a16="http://schemas.microsoft.com/office/drawing/2014/main" id="{9F460655-3E59-DA38-D092-721C0927E9A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B6D8C916-CC36-7D82-EC89-15E46C6C457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344A0D8-D357-7CC1-36A1-CEFCE6B60C0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70" name="Textplatzhalter 8">
            <a:extLst>
              <a:ext uri="{FF2B5EF4-FFF2-40B4-BE49-F238E27FC236}">
                <a16:creationId xmlns:a16="http://schemas.microsoft.com/office/drawing/2014/main" id="{3CFA1BC3-5206-D14B-47C3-A4F9B5000C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71" name="Textplatzhalter 8">
            <a:extLst>
              <a:ext uri="{FF2B5EF4-FFF2-40B4-BE49-F238E27FC236}">
                <a16:creationId xmlns:a16="http://schemas.microsoft.com/office/drawing/2014/main" id="{23A837E2-8F20-7805-91CF-1950FB51A7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1911431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 Number + P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2269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0337" y="2529000"/>
            <a:ext cx="2493635" cy="1800000"/>
          </a:xfr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63064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18352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2D68E061-2E16-5B27-E16E-733B5BD665DF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5440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798F28A0-F5CE-7F81-9A86-23C702A9AE76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39" name="Freihandform: Form 7">
              <a:extLst>
                <a:ext uri="{FF2B5EF4-FFF2-40B4-BE49-F238E27FC236}">
                  <a16:creationId xmlns:a16="http://schemas.microsoft.com/office/drawing/2014/main" id="{E837E4E4-8534-0AEB-4AD3-51D31B6DB4E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0" name="Freihandform: Form 8">
              <a:extLst>
                <a:ext uri="{FF2B5EF4-FFF2-40B4-BE49-F238E27FC236}">
                  <a16:creationId xmlns:a16="http://schemas.microsoft.com/office/drawing/2014/main" id="{2130741B-FF6C-4041-D77B-BD8A63816E4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1" name="Freihandform: Form 9">
              <a:extLst>
                <a:ext uri="{FF2B5EF4-FFF2-40B4-BE49-F238E27FC236}">
                  <a16:creationId xmlns:a16="http://schemas.microsoft.com/office/drawing/2014/main" id="{A216FC4C-7124-AE7E-B613-60F6CD8BB16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2" name="Freihandform: Form 10">
              <a:extLst>
                <a:ext uri="{FF2B5EF4-FFF2-40B4-BE49-F238E27FC236}">
                  <a16:creationId xmlns:a16="http://schemas.microsoft.com/office/drawing/2014/main" id="{4F84DB8F-B135-FCE1-AA11-D212E1D8DC47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3" name="Freihandform: Form 11">
              <a:extLst>
                <a:ext uri="{FF2B5EF4-FFF2-40B4-BE49-F238E27FC236}">
                  <a16:creationId xmlns:a16="http://schemas.microsoft.com/office/drawing/2014/main" id="{9CB787C1-990A-8593-3314-C71F3A3040E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4" name="Freihandform: Form 12">
              <a:extLst>
                <a:ext uri="{FF2B5EF4-FFF2-40B4-BE49-F238E27FC236}">
                  <a16:creationId xmlns:a16="http://schemas.microsoft.com/office/drawing/2014/main" id="{3BC5B3F7-F686-D899-4E51-A1D55851E4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5" name="Freihandform: Form 13">
              <a:extLst>
                <a:ext uri="{FF2B5EF4-FFF2-40B4-BE49-F238E27FC236}">
                  <a16:creationId xmlns:a16="http://schemas.microsoft.com/office/drawing/2014/main" id="{088378B8-A284-0C3F-F791-09E8509C291A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6342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B4F41F0-EEB0-AA9B-C28E-3D8D38A07A2D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23" name="Freihandform: Form 7">
              <a:extLst>
                <a:ext uri="{FF2B5EF4-FFF2-40B4-BE49-F238E27FC236}">
                  <a16:creationId xmlns:a16="http://schemas.microsoft.com/office/drawing/2014/main" id="{54EBE668-5973-846D-A77A-428B5E7D3A39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4" name="Freihandform: Form 8">
              <a:extLst>
                <a:ext uri="{FF2B5EF4-FFF2-40B4-BE49-F238E27FC236}">
                  <a16:creationId xmlns:a16="http://schemas.microsoft.com/office/drawing/2014/main" id="{23FAC38C-E669-0DB9-153F-36AB7943C40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5" name="Freihandform: Form 9">
              <a:extLst>
                <a:ext uri="{FF2B5EF4-FFF2-40B4-BE49-F238E27FC236}">
                  <a16:creationId xmlns:a16="http://schemas.microsoft.com/office/drawing/2014/main" id="{52A88C9F-188C-750B-D06B-BE56F405F14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6" name="Freihandform: Form 10">
              <a:extLst>
                <a:ext uri="{FF2B5EF4-FFF2-40B4-BE49-F238E27FC236}">
                  <a16:creationId xmlns:a16="http://schemas.microsoft.com/office/drawing/2014/main" id="{D5578205-B925-7FF2-4E0B-095A82049DB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7" name="Freihandform: Form 11">
              <a:extLst>
                <a:ext uri="{FF2B5EF4-FFF2-40B4-BE49-F238E27FC236}">
                  <a16:creationId xmlns:a16="http://schemas.microsoft.com/office/drawing/2014/main" id="{EDE2F598-5C9E-496B-4529-059674AD66A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58AC79AD-F66A-14F6-0B2C-E651F73B018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3492E4C7-1724-51DF-41E4-A5DFCD2CE07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2673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9278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382B33DE-28B0-2DFB-36EC-3CE7981604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8799" y="2578825"/>
            <a:ext cx="1790386" cy="218586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PROJEKTINHAL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0FFD150C-8DA6-73ED-930A-C293DFDCF4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8475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ERFOLGE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1A0DF424-5224-333B-D7ED-012341F2A8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7432" y="2578825"/>
            <a:ext cx="1790386" cy="21858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cap="all" baseline="0" dirty="0">
                <a:solidFill>
                  <a:srgbClr val="7192C7"/>
                </a:solidFill>
              </a:defRPr>
            </a:lvl1pPr>
          </a:lstStyle>
          <a:p>
            <a:pPr lvl="0">
              <a:spcAft>
                <a:spcPts val="330"/>
              </a:spcAft>
            </a:pPr>
            <a:r>
              <a:rPr lang="de-DE"/>
              <a:t>UNSERE ROLLE</a:t>
            </a:r>
          </a:p>
        </p:txBody>
      </p:sp>
      <p:sp>
        <p:nvSpPr>
          <p:cNvPr id="212" name="Rechteck 211">
            <a:extLst>
              <a:ext uri="{FF2B5EF4-FFF2-40B4-BE49-F238E27FC236}">
                <a16:creationId xmlns:a16="http://schemas.microsoft.com/office/drawing/2014/main" id="{08299A53-0EAB-545E-5B9A-36A306D68AA5}"/>
              </a:ext>
            </a:extLst>
          </p:cNvPr>
          <p:cNvSpPr/>
          <p:nvPr userDrawn="1"/>
        </p:nvSpPr>
        <p:spPr>
          <a:xfrm>
            <a:off x="0" y="1619887"/>
            <a:ext cx="12191701" cy="4161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D253BC4-2080-05B1-48AE-043B6B12C8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68754" y="1741574"/>
            <a:ext cx="1608373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KUNDE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2D186FC-2E00-F070-63F1-7CA81450AA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60688" y="1741574"/>
            <a:ext cx="2052037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ROJEKTTYP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79AD2616-F94C-FABA-8115-420C3A1FB6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95188" y="1741574"/>
            <a:ext cx="1390863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# CONSULTANTS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B4E20E9E-EDC9-F77D-9230-C69827DE75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20961" y="1741574"/>
            <a:ext cx="1330391" cy="172800"/>
          </a:xfrm>
        </p:spPr>
        <p:txBody>
          <a:bodyPr anchor="ctr"/>
          <a:lstStyle>
            <a:lvl1pPr>
              <a:defRPr sz="11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LAUFZEI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56E741-995F-AA74-5FB6-5B6FC6C7F230}"/>
              </a:ext>
            </a:extLst>
          </p:cNvPr>
          <p:cNvSpPr/>
          <p:nvPr userDrawn="1"/>
        </p:nvSpPr>
        <p:spPr>
          <a:xfrm>
            <a:off x="0" y="0"/>
            <a:ext cx="12192000" cy="16198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C62097-443B-8684-8B05-508CFAB1E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11233927" cy="61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Referenz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99572A-F465-965F-1DFA-4B0F2FA7E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86B6DE-C23E-AE7F-195A-333EC0F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C06440-8751-9F9B-B2A1-E4E9D549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5" name="Freeform 127">
            <a:extLst>
              <a:ext uri="{FF2B5EF4-FFF2-40B4-BE49-F238E27FC236}">
                <a16:creationId xmlns:a16="http://schemas.microsoft.com/office/drawing/2014/main" id="{C8285784-2A18-1334-2385-F8ACD41DDB8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41885" y="1717475"/>
            <a:ext cx="288000" cy="22190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70AB1CB-EDC7-2A39-59F7-9B06A04673F4}"/>
              </a:ext>
            </a:extLst>
          </p:cNvPr>
          <p:cNvGrpSpPr/>
          <p:nvPr userDrawn="1"/>
        </p:nvGrpSpPr>
        <p:grpSpPr>
          <a:xfrm>
            <a:off x="9325208" y="1707004"/>
            <a:ext cx="216000" cy="242847"/>
            <a:chOff x="9863618" y="1707004"/>
            <a:chExt cx="216000" cy="242847"/>
          </a:xfrm>
        </p:grpSpPr>
        <p:sp>
          <p:nvSpPr>
            <p:cNvPr id="220" name="Freeform 14">
              <a:extLst>
                <a:ext uri="{FF2B5EF4-FFF2-40B4-BE49-F238E27FC236}">
                  <a16:creationId xmlns:a16="http://schemas.microsoft.com/office/drawing/2014/main" id="{9C2921C1-75FA-89C3-B007-49C975BC72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618" y="1707004"/>
              <a:ext cx="216000" cy="242847"/>
            </a:xfrm>
            <a:custGeom>
              <a:avLst/>
              <a:gdLst>
                <a:gd name="T0" fmla="*/ 79 w 86"/>
                <a:gd name="T1" fmla="*/ 41 h 96"/>
                <a:gd name="T2" fmla="*/ 59 w 86"/>
                <a:gd name="T3" fmla="*/ 18 h 96"/>
                <a:gd name="T4" fmla="*/ 27 w 86"/>
                <a:gd name="T5" fmla="*/ 18 h 96"/>
                <a:gd name="T6" fmla="*/ 7 w 86"/>
                <a:gd name="T7" fmla="*/ 41 h 96"/>
                <a:gd name="T8" fmla="*/ 7 w 86"/>
                <a:gd name="T9" fmla="*/ 55 h 96"/>
                <a:gd name="T10" fmla="*/ 15 w 86"/>
                <a:gd name="T11" fmla="*/ 80 h 96"/>
                <a:gd name="T12" fmla="*/ 43 w 86"/>
                <a:gd name="T13" fmla="*/ 96 h 96"/>
                <a:gd name="T14" fmla="*/ 71 w 86"/>
                <a:gd name="T15" fmla="*/ 80 h 96"/>
                <a:gd name="T16" fmla="*/ 79 w 86"/>
                <a:gd name="T17" fmla="*/ 55 h 96"/>
                <a:gd name="T18" fmla="*/ 71 w 86"/>
                <a:gd name="T19" fmla="*/ 20 h 96"/>
                <a:gd name="T20" fmla="*/ 75 w 86"/>
                <a:gd name="T21" fmla="*/ 39 h 96"/>
                <a:gd name="T22" fmla="*/ 63 w 86"/>
                <a:gd name="T23" fmla="*/ 38 h 96"/>
                <a:gd name="T24" fmla="*/ 71 w 86"/>
                <a:gd name="T25" fmla="*/ 20 h 96"/>
                <a:gd name="T26" fmla="*/ 43 w 86"/>
                <a:gd name="T27" fmla="*/ 67 h 96"/>
                <a:gd name="T28" fmla="*/ 27 w 86"/>
                <a:gd name="T29" fmla="*/ 56 h 96"/>
                <a:gd name="T30" fmla="*/ 27 w 86"/>
                <a:gd name="T31" fmla="*/ 40 h 96"/>
                <a:gd name="T32" fmla="*/ 43 w 86"/>
                <a:gd name="T33" fmla="*/ 29 h 96"/>
                <a:gd name="T34" fmla="*/ 59 w 86"/>
                <a:gd name="T35" fmla="*/ 40 h 96"/>
                <a:gd name="T36" fmla="*/ 59 w 86"/>
                <a:gd name="T37" fmla="*/ 56 h 96"/>
                <a:gd name="T38" fmla="*/ 58 w 86"/>
                <a:gd name="T39" fmla="*/ 62 h 96"/>
                <a:gd name="T40" fmla="*/ 47 w 86"/>
                <a:gd name="T41" fmla="*/ 69 h 96"/>
                <a:gd name="T42" fmla="*/ 58 w 86"/>
                <a:gd name="T43" fmla="*/ 62 h 96"/>
                <a:gd name="T44" fmla="*/ 30 w 86"/>
                <a:gd name="T45" fmla="*/ 73 h 96"/>
                <a:gd name="T46" fmla="*/ 32 w 86"/>
                <a:gd name="T47" fmla="*/ 64 h 96"/>
                <a:gd name="T48" fmla="*/ 23 w 86"/>
                <a:gd name="T49" fmla="*/ 53 h 96"/>
                <a:gd name="T50" fmla="*/ 23 w 86"/>
                <a:gd name="T51" fmla="*/ 43 h 96"/>
                <a:gd name="T52" fmla="*/ 23 w 86"/>
                <a:gd name="T53" fmla="*/ 53 h 96"/>
                <a:gd name="T54" fmla="*/ 30 w 86"/>
                <a:gd name="T55" fmla="*/ 23 h 96"/>
                <a:gd name="T56" fmla="*/ 32 w 86"/>
                <a:gd name="T57" fmla="*/ 32 h 96"/>
                <a:gd name="T58" fmla="*/ 47 w 86"/>
                <a:gd name="T59" fmla="*/ 27 h 96"/>
                <a:gd name="T60" fmla="*/ 58 w 86"/>
                <a:gd name="T61" fmla="*/ 34 h 96"/>
                <a:gd name="T62" fmla="*/ 47 w 86"/>
                <a:gd name="T63" fmla="*/ 27 h 96"/>
                <a:gd name="T64" fmla="*/ 68 w 86"/>
                <a:gd name="T65" fmla="*/ 48 h 96"/>
                <a:gd name="T66" fmla="*/ 63 w 86"/>
                <a:gd name="T67" fmla="*/ 48 h 96"/>
                <a:gd name="T68" fmla="*/ 43 w 86"/>
                <a:gd name="T69" fmla="*/ 4 h 96"/>
                <a:gd name="T70" fmla="*/ 43 w 86"/>
                <a:gd name="T71" fmla="*/ 25 h 96"/>
                <a:gd name="T72" fmla="*/ 43 w 86"/>
                <a:gd name="T73" fmla="*/ 4 h 96"/>
                <a:gd name="T74" fmla="*/ 7 w 86"/>
                <a:gd name="T75" fmla="*/ 23 h 96"/>
                <a:gd name="T76" fmla="*/ 23 w 86"/>
                <a:gd name="T77" fmla="*/ 38 h 96"/>
                <a:gd name="T78" fmla="*/ 11 w 86"/>
                <a:gd name="T79" fmla="*/ 39 h 96"/>
                <a:gd name="T80" fmla="*/ 11 w 86"/>
                <a:gd name="T81" fmla="*/ 57 h 96"/>
                <a:gd name="T82" fmla="*/ 23 w 86"/>
                <a:gd name="T83" fmla="*/ 58 h 96"/>
                <a:gd name="T84" fmla="*/ 7 w 86"/>
                <a:gd name="T85" fmla="*/ 73 h 96"/>
                <a:gd name="T86" fmla="*/ 31 w 86"/>
                <a:gd name="T87" fmla="*/ 77 h 96"/>
                <a:gd name="T88" fmla="*/ 55 w 86"/>
                <a:gd name="T89" fmla="*/ 77 h 96"/>
                <a:gd name="T90" fmla="*/ 79 w 86"/>
                <a:gd name="T91" fmla="*/ 73 h 96"/>
                <a:gd name="T92" fmla="*/ 63 w 86"/>
                <a:gd name="T93" fmla="*/ 58 h 96"/>
                <a:gd name="T94" fmla="*/ 75 w 86"/>
                <a:gd name="T95" fmla="*/ 5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6" h="96">
                  <a:moveTo>
                    <a:pt x="73" y="48"/>
                  </a:moveTo>
                  <a:cubicBezTo>
                    <a:pt x="75" y="46"/>
                    <a:pt x="77" y="43"/>
                    <a:pt x="79" y="41"/>
                  </a:cubicBezTo>
                  <a:cubicBezTo>
                    <a:pt x="84" y="33"/>
                    <a:pt x="86" y="25"/>
                    <a:pt x="83" y="21"/>
                  </a:cubicBezTo>
                  <a:cubicBezTo>
                    <a:pt x="79" y="15"/>
                    <a:pt x="70" y="15"/>
                    <a:pt x="59" y="18"/>
                  </a:cubicBezTo>
                  <a:cubicBezTo>
                    <a:pt x="55" y="7"/>
                    <a:pt x="49" y="0"/>
                    <a:pt x="43" y="0"/>
                  </a:cubicBezTo>
                  <a:cubicBezTo>
                    <a:pt x="37" y="0"/>
                    <a:pt x="31" y="7"/>
                    <a:pt x="27" y="18"/>
                  </a:cubicBezTo>
                  <a:cubicBezTo>
                    <a:pt x="16" y="15"/>
                    <a:pt x="7" y="15"/>
                    <a:pt x="3" y="21"/>
                  </a:cubicBezTo>
                  <a:cubicBezTo>
                    <a:pt x="0" y="25"/>
                    <a:pt x="2" y="33"/>
                    <a:pt x="7" y="41"/>
                  </a:cubicBezTo>
                  <a:cubicBezTo>
                    <a:pt x="9" y="43"/>
                    <a:pt x="11" y="46"/>
                    <a:pt x="13" y="48"/>
                  </a:cubicBezTo>
                  <a:cubicBezTo>
                    <a:pt x="11" y="50"/>
                    <a:pt x="9" y="53"/>
                    <a:pt x="7" y="55"/>
                  </a:cubicBezTo>
                  <a:cubicBezTo>
                    <a:pt x="2" y="63"/>
                    <a:pt x="0" y="71"/>
                    <a:pt x="3" y="75"/>
                  </a:cubicBezTo>
                  <a:cubicBezTo>
                    <a:pt x="6" y="78"/>
                    <a:pt x="10" y="80"/>
                    <a:pt x="15" y="80"/>
                  </a:cubicBezTo>
                  <a:cubicBezTo>
                    <a:pt x="19" y="80"/>
                    <a:pt x="23" y="79"/>
                    <a:pt x="27" y="78"/>
                  </a:cubicBezTo>
                  <a:cubicBezTo>
                    <a:pt x="31" y="89"/>
                    <a:pt x="37" y="96"/>
                    <a:pt x="43" y="96"/>
                  </a:cubicBezTo>
                  <a:cubicBezTo>
                    <a:pt x="49" y="96"/>
                    <a:pt x="55" y="89"/>
                    <a:pt x="59" y="78"/>
                  </a:cubicBezTo>
                  <a:cubicBezTo>
                    <a:pt x="63" y="79"/>
                    <a:pt x="67" y="80"/>
                    <a:pt x="71" y="80"/>
                  </a:cubicBezTo>
                  <a:cubicBezTo>
                    <a:pt x="76" y="80"/>
                    <a:pt x="80" y="78"/>
                    <a:pt x="83" y="75"/>
                  </a:cubicBezTo>
                  <a:cubicBezTo>
                    <a:pt x="86" y="71"/>
                    <a:pt x="84" y="63"/>
                    <a:pt x="79" y="55"/>
                  </a:cubicBezTo>
                  <a:cubicBezTo>
                    <a:pt x="77" y="53"/>
                    <a:pt x="75" y="50"/>
                    <a:pt x="73" y="48"/>
                  </a:cubicBezTo>
                  <a:close/>
                  <a:moveTo>
                    <a:pt x="71" y="20"/>
                  </a:moveTo>
                  <a:cubicBezTo>
                    <a:pt x="75" y="20"/>
                    <a:pt x="78" y="21"/>
                    <a:pt x="79" y="23"/>
                  </a:cubicBezTo>
                  <a:cubicBezTo>
                    <a:pt x="81" y="26"/>
                    <a:pt x="80" y="32"/>
                    <a:pt x="75" y="39"/>
                  </a:cubicBezTo>
                  <a:cubicBezTo>
                    <a:pt x="74" y="41"/>
                    <a:pt x="72" y="43"/>
                    <a:pt x="71" y="45"/>
                  </a:cubicBezTo>
                  <a:cubicBezTo>
                    <a:pt x="68" y="43"/>
                    <a:pt x="65" y="40"/>
                    <a:pt x="63" y="38"/>
                  </a:cubicBezTo>
                  <a:cubicBezTo>
                    <a:pt x="62" y="32"/>
                    <a:pt x="61" y="27"/>
                    <a:pt x="60" y="22"/>
                  </a:cubicBezTo>
                  <a:cubicBezTo>
                    <a:pt x="64" y="21"/>
                    <a:pt x="68" y="20"/>
                    <a:pt x="71" y="20"/>
                  </a:cubicBezTo>
                  <a:close/>
                  <a:moveTo>
                    <a:pt x="52" y="61"/>
                  </a:moveTo>
                  <a:cubicBezTo>
                    <a:pt x="49" y="63"/>
                    <a:pt x="46" y="65"/>
                    <a:pt x="43" y="67"/>
                  </a:cubicBezTo>
                  <a:cubicBezTo>
                    <a:pt x="40" y="65"/>
                    <a:pt x="37" y="63"/>
                    <a:pt x="34" y="61"/>
                  </a:cubicBezTo>
                  <a:cubicBezTo>
                    <a:pt x="32" y="60"/>
                    <a:pt x="29" y="58"/>
                    <a:pt x="27" y="56"/>
                  </a:cubicBezTo>
                  <a:cubicBezTo>
                    <a:pt x="27" y="54"/>
                    <a:pt x="27" y="51"/>
                    <a:pt x="27" y="48"/>
                  </a:cubicBezTo>
                  <a:cubicBezTo>
                    <a:pt x="27" y="45"/>
                    <a:pt x="27" y="42"/>
                    <a:pt x="27" y="40"/>
                  </a:cubicBezTo>
                  <a:cubicBezTo>
                    <a:pt x="29" y="38"/>
                    <a:pt x="32" y="36"/>
                    <a:pt x="34" y="35"/>
                  </a:cubicBezTo>
                  <a:cubicBezTo>
                    <a:pt x="37" y="33"/>
                    <a:pt x="40" y="31"/>
                    <a:pt x="43" y="29"/>
                  </a:cubicBezTo>
                  <a:cubicBezTo>
                    <a:pt x="46" y="31"/>
                    <a:pt x="49" y="33"/>
                    <a:pt x="52" y="35"/>
                  </a:cubicBezTo>
                  <a:cubicBezTo>
                    <a:pt x="54" y="36"/>
                    <a:pt x="57" y="38"/>
                    <a:pt x="59" y="40"/>
                  </a:cubicBezTo>
                  <a:cubicBezTo>
                    <a:pt x="59" y="42"/>
                    <a:pt x="59" y="45"/>
                    <a:pt x="59" y="48"/>
                  </a:cubicBezTo>
                  <a:cubicBezTo>
                    <a:pt x="59" y="51"/>
                    <a:pt x="59" y="54"/>
                    <a:pt x="59" y="56"/>
                  </a:cubicBezTo>
                  <a:cubicBezTo>
                    <a:pt x="57" y="58"/>
                    <a:pt x="54" y="60"/>
                    <a:pt x="52" y="61"/>
                  </a:cubicBezTo>
                  <a:close/>
                  <a:moveTo>
                    <a:pt x="58" y="62"/>
                  </a:moveTo>
                  <a:cubicBezTo>
                    <a:pt x="58" y="66"/>
                    <a:pt x="57" y="69"/>
                    <a:pt x="56" y="73"/>
                  </a:cubicBezTo>
                  <a:cubicBezTo>
                    <a:pt x="53" y="72"/>
                    <a:pt x="50" y="71"/>
                    <a:pt x="47" y="69"/>
                  </a:cubicBezTo>
                  <a:cubicBezTo>
                    <a:pt x="50" y="68"/>
                    <a:pt x="52" y="66"/>
                    <a:pt x="54" y="64"/>
                  </a:cubicBezTo>
                  <a:cubicBezTo>
                    <a:pt x="56" y="64"/>
                    <a:pt x="57" y="63"/>
                    <a:pt x="58" y="62"/>
                  </a:cubicBezTo>
                  <a:close/>
                  <a:moveTo>
                    <a:pt x="39" y="69"/>
                  </a:moveTo>
                  <a:cubicBezTo>
                    <a:pt x="36" y="71"/>
                    <a:pt x="33" y="72"/>
                    <a:pt x="30" y="73"/>
                  </a:cubicBezTo>
                  <a:cubicBezTo>
                    <a:pt x="29" y="69"/>
                    <a:pt x="28" y="66"/>
                    <a:pt x="28" y="62"/>
                  </a:cubicBezTo>
                  <a:cubicBezTo>
                    <a:pt x="29" y="63"/>
                    <a:pt x="30" y="64"/>
                    <a:pt x="32" y="64"/>
                  </a:cubicBezTo>
                  <a:cubicBezTo>
                    <a:pt x="34" y="66"/>
                    <a:pt x="36" y="68"/>
                    <a:pt x="39" y="69"/>
                  </a:cubicBezTo>
                  <a:close/>
                  <a:moveTo>
                    <a:pt x="23" y="53"/>
                  </a:moveTo>
                  <a:cubicBezTo>
                    <a:pt x="21" y="51"/>
                    <a:pt x="20" y="50"/>
                    <a:pt x="18" y="48"/>
                  </a:cubicBezTo>
                  <a:cubicBezTo>
                    <a:pt x="20" y="46"/>
                    <a:pt x="21" y="45"/>
                    <a:pt x="23" y="43"/>
                  </a:cubicBezTo>
                  <a:cubicBezTo>
                    <a:pt x="23" y="45"/>
                    <a:pt x="23" y="46"/>
                    <a:pt x="23" y="48"/>
                  </a:cubicBezTo>
                  <a:cubicBezTo>
                    <a:pt x="23" y="50"/>
                    <a:pt x="23" y="51"/>
                    <a:pt x="23" y="53"/>
                  </a:cubicBezTo>
                  <a:close/>
                  <a:moveTo>
                    <a:pt x="28" y="34"/>
                  </a:moveTo>
                  <a:cubicBezTo>
                    <a:pt x="28" y="30"/>
                    <a:pt x="29" y="27"/>
                    <a:pt x="30" y="23"/>
                  </a:cubicBezTo>
                  <a:cubicBezTo>
                    <a:pt x="33" y="24"/>
                    <a:pt x="36" y="25"/>
                    <a:pt x="39" y="27"/>
                  </a:cubicBezTo>
                  <a:cubicBezTo>
                    <a:pt x="36" y="28"/>
                    <a:pt x="34" y="30"/>
                    <a:pt x="32" y="32"/>
                  </a:cubicBezTo>
                  <a:cubicBezTo>
                    <a:pt x="30" y="32"/>
                    <a:pt x="29" y="33"/>
                    <a:pt x="28" y="34"/>
                  </a:cubicBezTo>
                  <a:close/>
                  <a:moveTo>
                    <a:pt x="47" y="27"/>
                  </a:moveTo>
                  <a:cubicBezTo>
                    <a:pt x="50" y="25"/>
                    <a:pt x="53" y="24"/>
                    <a:pt x="56" y="23"/>
                  </a:cubicBezTo>
                  <a:cubicBezTo>
                    <a:pt x="57" y="27"/>
                    <a:pt x="58" y="30"/>
                    <a:pt x="58" y="34"/>
                  </a:cubicBezTo>
                  <a:cubicBezTo>
                    <a:pt x="57" y="33"/>
                    <a:pt x="56" y="32"/>
                    <a:pt x="54" y="32"/>
                  </a:cubicBezTo>
                  <a:cubicBezTo>
                    <a:pt x="52" y="30"/>
                    <a:pt x="50" y="28"/>
                    <a:pt x="47" y="27"/>
                  </a:cubicBezTo>
                  <a:close/>
                  <a:moveTo>
                    <a:pt x="63" y="43"/>
                  </a:moveTo>
                  <a:cubicBezTo>
                    <a:pt x="65" y="45"/>
                    <a:pt x="66" y="46"/>
                    <a:pt x="68" y="48"/>
                  </a:cubicBezTo>
                  <a:cubicBezTo>
                    <a:pt x="66" y="50"/>
                    <a:pt x="65" y="51"/>
                    <a:pt x="63" y="53"/>
                  </a:cubicBezTo>
                  <a:cubicBezTo>
                    <a:pt x="63" y="51"/>
                    <a:pt x="63" y="50"/>
                    <a:pt x="63" y="48"/>
                  </a:cubicBezTo>
                  <a:cubicBezTo>
                    <a:pt x="63" y="46"/>
                    <a:pt x="63" y="45"/>
                    <a:pt x="63" y="43"/>
                  </a:cubicBezTo>
                  <a:close/>
                  <a:moveTo>
                    <a:pt x="43" y="4"/>
                  </a:moveTo>
                  <a:cubicBezTo>
                    <a:pt x="47" y="4"/>
                    <a:pt x="52" y="10"/>
                    <a:pt x="55" y="19"/>
                  </a:cubicBezTo>
                  <a:cubicBezTo>
                    <a:pt x="51" y="21"/>
                    <a:pt x="47" y="22"/>
                    <a:pt x="43" y="25"/>
                  </a:cubicBezTo>
                  <a:cubicBezTo>
                    <a:pt x="39" y="22"/>
                    <a:pt x="35" y="21"/>
                    <a:pt x="31" y="19"/>
                  </a:cubicBezTo>
                  <a:cubicBezTo>
                    <a:pt x="34" y="10"/>
                    <a:pt x="39" y="4"/>
                    <a:pt x="43" y="4"/>
                  </a:cubicBezTo>
                  <a:close/>
                  <a:moveTo>
                    <a:pt x="11" y="39"/>
                  </a:moveTo>
                  <a:cubicBezTo>
                    <a:pt x="6" y="32"/>
                    <a:pt x="5" y="26"/>
                    <a:pt x="7" y="23"/>
                  </a:cubicBezTo>
                  <a:cubicBezTo>
                    <a:pt x="9" y="20"/>
                    <a:pt x="16" y="19"/>
                    <a:pt x="26" y="22"/>
                  </a:cubicBezTo>
                  <a:cubicBezTo>
                    <a:pt x="25" y="27"/>
                    <a:pt x="24" y="32"/>
                    <a:pt x="23" y="38"/>
                  </a:cubicBezTo>
                  <a:cubicBezTo>
                    <a:pt x="21" y="40"/>
                    <a:pt x="18" y="43"/>
                    <a:pt x="15" y="45"/>
                  </a:cubicBezTo>
                  <a:cubicBezTo>
                    <a:pt x="14" y="43"/>
                    <a:pt x="12" y="41"/>
                    <a:pt x="11" y="39"/>
                  </a:cubicBezTo>
                  <a:close/>
                  <a:moveTo>
                    <a:pt x="7" y="73"/>
                  </a:moveTo>
                  <a:cubicBezTo>
                    <a:pt x="5" y="70"/>
                    <a:pt x="6" y="64"/>
                    <a:pt x="11" y="57"/>
                  </a:cubicBezTo>
                  <a:cubicBezTo>
                    <a:pt x="12" y="55"/>
                    <a:pt x="14" y="53"/>
                    <a:pt x="15" y="51"/>
                  </a:cubicBezTo>
                  <a:cubicBezTo>
                    <a:pt x="18" y="53"/>
                    <a:pt x="21" y="56"/>
                    <a:pt x="23" y="58"/>
                  </a:cubicBezTo>
                  <a:cubicBezTo>
                    <a:pt x="24" y="64"/>
                    <a:pt x="25" y="69"/>
                    <a:pt x="26" y="74"/>
                  </a:cubicBezTo>
                  <a:cubicBezTo>
                    <a:pt x="16" y="77"/>
                    <a:pt x="9" y="76"/>
                    <a:pt x="7" y="73"/>
                  </a:cubicBezTo>
                  <a:close/>
                  <a:moveTo>
                    <a:pt x="43" y="92"/>
                  </a:moveTo>
                  <a:cubicBezTo>
                    <a:pt x="39" y="92"/>
                    <a:pt x="34" y="86"/>
                    <a:pt x="31" y="77"/>
                  </a:cubicBezTo>
                  <a:cubicBezTo>
                    <a:pt x="35" y="75"/>
                    <a:pt x="39" y="74"/>
                    <a:pt x="43" y="71"/>
                  </a:cubicBezTo>
                  <a:cubicBezTo>
                    <a:pt x="47" y="74"/>
                    <a:pt x="51" y="75"/>
                    <a:pt x="55" y="77"/>
                  </a:cubicBezTo>
                  <a:cubicBezTo>
                    <a:pt x="52" y="86"/>
                    <a:pt x="47" y="92"/>
                    <a:pt x="43" y="92"/>
                  </a:cubicBezTo>
                  <a:close/>
                  <a:moveTo>
                    <a:pt x="79" y="73"/>
                  </a:moveTo>
                  <a:cubicBezTo>
                    <a:pt x="77" y="76"/>
                    <a:pt x="70" y="77"/>
                    <a:pt x="60" y="74"/>
                  </a:cubicBezTo>
                  <a:cubicBezTo>
                    <a:pt x="61" y="69"/>
                    <a:pt x="62" y="64"/>
                    <a:pt x="63" y="58"/>
                  </a:cubicBezTo>
                  <a:cubicBezTo>
                    <a:pt x="65" y="56"/>
                    <a:pt x="68" y="53"/>
                    <a:pt x="71" y="51"/>
                  </a:cubicBezTo>
                  <a:cubicBezTo>
                    <a:pt x="72" y="53"/>
                    <a:pt x="74" y="55"/>
                    <a:pt x="75" y="57"/>
                  </a:cubicBezTo>
                  <a:cubicBezTo>
                    <a:pt x="80" y="64"/>
                    <a:pt x="81" y="70"/>
                    <a:pt x="79" y="73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BA8FBC84-52F2-5A08-BE54-6473D8B6AD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46508" y="1802929"/>
              <a:ext cx="50219" cy="50998"/>
            </a:xfrm>
            <a:custGeom>
              <a:avLst/>
              <a:gdLst>
                <a:gd name="T0" fmla="*/ 10 w 20"/>
                <a:gd name="T1" fmla="*/ 0 h 20"/>
                <a:gd name="T2" fmla="*/ 0 w 20"/>
                <a:gd name="T3" fmla="*/ 10 h 20"/>
                <a:gd name="T4" fmla="*/ 10 w 20"/>
                <a:gd name="T5" fmla="*/ 20 h 20"/>
                <a:gd name="T6" fmla="*/ 20 w 20"/>
                <a:gd name="T7" fmla="*/ 10 h 20"/>
                <a:gd name="T8" fmla="*/ 10 w 20"/>
                <a:gd name="T9" fmla="*/ 0 h 20"/>
                <a:gd name="T10" fmla="*/ 10 w 20"/>
                <a:gd name="T11" fmla="*/ 16 h 20"/>
                <a:gd name="T12" fmla="*/ 4 w 20"/>
                <a:gd name="T13" fmla="*/ 10 h 20"/>
                <a:gd name="T14" fmla="*/ 10 w 20"/>
                <a:gd name="T15" fmla="*/ 4 h 20"/>
                <a:gd name="T16" fmla="*/ 16 w 20"/>
                <a:gd name="T17" fmla="*/ 10 h 20"/>
                <a:gd name="T18" fmla="*/ 10 w 20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0"/>
                  </a:move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4"/>
                    <a:pt x="16" y="0"/>
                    <a:pt x="10" y="0"/>
                  </a:cubicBezTo>
                  <a:close/>
                  <a:moveTo>
                    <a:pt x="10" y="16"/>
                  </a:moveTo>
                  <a:cubicBezTo>
                    <a:pt x="7" y="16"/>
                    <a:pt x="4" y="13"/>
                    <a:pt x="4" y="10"/>
                  </a:cubicBezTo>
                  <a:cubicBezTo>
                    <a:pt x="4" y="7"/>
                    <a:pt x="7" y="4"/>
                    <a:pt x="10" y="4"/>
                  </a:cubicBezTo>
                  <a:cubicBezTo>
                    <a:pt x="13" y="4"/>
                    <a:pt x="16" y="7"/>
                    <a:pt x="16" y="10"/>
                  </a:cubicBezTo>
                  <a:cubicBezTo>
                    <a:pt x="16" y="13"/>
                    <a:pt x="13" y="16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3" name="Group 54">
            <a:extLst>
              <a:ext uri="{FF2B5EF4-FFF2-40B4-BE49-F238E27FC236}">
                <a16:creationId xmlns:a16="http://schemas.microsoft.com/office/drawing/2014/main" id="{581C97CC-363D-8052-A037-B6DEC1FFFA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93644" y="1702431"/>
            <a:ext cx="282064" cy="252002"/>
            <a:chOff x="6718" y="681"/>
            <a:chExt cx="441" cy="394"/>
          </a:xfrm>
          <a:solidFill>
            <a:schemeClr val="bg1"/>
          </a:solidFill>
        </p:grpSpPr>
        <p:sp>
          <p:nvSpPr>
            <p:cNvPr id="225" name="Freeform 55">
              <a:extLst>
                <a:ext uri="{FF2B5EF4-FFF2-40B4-BE49-F238E27FC236}">
                  <a16:creationId xmlns:a16="http://schemas.microsoft.com/office/drawing/2014/main" id="{F52869DF-7F58-101E-31A3-D0411AA5B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6" name="Freeform 56">
              <a:extLst>
                <a:ext uri="{FF2B5EF4-FFF2-40B4-BE49-F238E27FC236}">
                  <a16:creationId xmlns:a16="http://schemas.microsoft.com/office/drawing/2014/main" id="{D9522C0F-9FB8-170A-8C16-758599FCE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Freeform 57">
              <a:extLst>
                <a:ext uri="{FF2B5EF4-FFF2-40B4-BE49-F238E27FC236}">
                  <a16:creationId xmlns:a16="http://schemas.microsoft.com/office/drawing/2014/main" id="{D6A3A985-B27B-68FA-ECB9-7CC4F58A9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Freeform 58">
              <a:extLst>
                <a:ext uri="{FF2B5EF4-FFF2-40B4-BE49-F238E27FC236}">
                  <a16:creationId xmlns:a16="http://schemas.microsoft.com/office/drawing/2014/main" id="{77B5DD6B-809E-10CA-F97E-0A6C5373F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Freeform 59">
              <a:extLst>
                <a:ext uri="{FF2B5EF4-FFF2-40B4-BE49-F238E27FC236}">
                  <a16:creationId xmlns:a16="http://schemas.microsoft.com/office/drawing/2014/main" id="{C890EABD-0269-9468-C48A-403CC3320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Freeform 60">
              <a:extLst>
                <a:ext uri="{FF2B5EF4-FFF2-40B4-BE49-F238E27FC236}">
                  <a16:creationId xmlns:a16="http://schemas.microsoft.com/office/drawing/2014/main" id="{D59C5876-7283-F345-2FF0-0332A8499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1" name="Freeform 61">
              <a:extLst>
                <a:ext uri="{FF2B5EF4-FFF2-40B4-BE49-F238E27FC236}">
                  <a16:creationId xmlns:a16="http://schemas.microsoft.com/office/drawing/2014/main" id="{B9B090DD-7548-15DE-4593-95F696931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4" name="Group 49">
            <a:extLst>
              <a:ext uri="{FF2B5EF4-FFF2-40B4-BE49-F238E27FC236}">
                <a16:creationId xmlns:a16="http://schemas.microsoft.com/office/drawing/2014/main" id="{96EF269B-A7C9-808F-CE47-077206C115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48888" y="1702427"/>
            <a:ext cx="252593" cy="252000"/>
            <a:chOff x="1374" y="1718"/>
            <a:chExt cx="427" cy="426"/>
          </a:xfrm>
          <a:solidFill>
            <a:schemeClr val="bg1"/>
          </a:solidFill>
        </p:grpSpPr>
        <p:sp>
          <p:nvSpPr>
            <p:cNvPr id="235" name="Freeform 50">
              <a:extLst>
                <a:ext uri="{FF2B5EF4-FFF2-40B4-BE49-F238E27FC236}">
                  <a16:creationId xmlns:a16="http://schemas.microsoft.com/office/drawing/2014/main" id="{C43FA4A4-5FFB-5F82-B789-84EBDE7448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1718"/>
              <a:ext cx="427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3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ubicBezTo>
                    <a:pt x="223" y="0"/>
                    <a:pt x="288" y="64"/>
                    <a:pt x="288" y="144"/>
                  </a:cubicBezTo>
                  <a:cubicBezTo>
                    <a:pt x="288" y="223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6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" name="Freeform 51">
              <a:extLst>
                <a:ext uri="{FF2B5EF4-FFF2-40B4-BE49-F238E27FC236}">
                  <a16:creationId xmlns:a16="http://schemas.microsoft.com/office/drawing/2014/main" id="{B106C518-A5E8-4803-A706-8403EF95C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0" y="1824"/>
              <a:ext cx="126" cy="214"/>
            </a:xfrm>
            <a:custGeom>
              <a:avLst/>
              <a:gdLst>
                <a:gd name="T0" fmla="*/ 78 w 85"/>
                <a:gd name="T1" fmla="*/ 144 h 144"/>
                <a:gd name="T2" fmla="*/ 74 w 85"/>
                <a:gd name="T3" fmla="*/ 142 h 144"/>
                <a:gd name="T4" fmla="*/ 2 w 85"/>
                <a:gd name="T5" fmla="*/ 76 h 144"/>
                <a:gd name="T6" fmla="*/ 0 w 85"/>
                <a:gd name="T7" fmla="*/ 72 h 144"/>
                <a:gd name="T8" fmla="*/ 0 w 85"/>
                <a:gd name="T9" fmla="*/ 6 h 144"/>
                <a:gd name="T10" fmla="*/ 6 w 85"/>
                <a:gd name="T11" fmla="*/ 0 h 144"/>
                <a:gd name="T12" fmla="*/ 12 w 85"/>
                <a:gd name="T13" fmla="*/ 6 h 144"/>
                <a:gd name="T14" fmla="*/ 12 w 85"/>
                <a:gd name="T15" fmla="*/ 69 h 144"/>
                <a:gd name="T16" fmla="*/ 82 w 85"/>
                <a:gd name="T17" fmla="*/ 133 h 144"/>
                <a:gd name="T18" fmla="*/ 82 w 85"/>
                <a:gd name="T19" fmla="*/ 142 h 144"/>
                <a:gd name="T20" fmla="*/ 78 w 85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44">
                  <a:moveTo>
                    <a:pt x="78" y="144"/>
                  </a:moveTo>
                  <a:cubicBezTo>
                    <a:pt x="76" y="144"/>
                    <a:pt x="75" y="143"/>
                    <a:pt x="74" y="142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" y="75"/>
                    <a:pt x="0" y="73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4" y="135"/>
                    <a:pt x="85" y="139"/>
                    <a:pt x="82" y="142"/>
                  </a:cubicBezTo>
                  <a:cubicBezTo>
                    <a:pt x="81" y="143"/>
                    <a:pt x="79" y="144"/>
                    <a:pt x="78" y="1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248" name="Straight Connector 22">
            <a:extLst>
              <a:ext uri="{FF2B5EF4-FFF2-40B4-BE49-F238E27FC236}">
                <a16:creationId xmlns:a16="http://schemas.microsoft.com/office/drawing/2014/main" id="{7CC30D84-1E3D-EC2D-33DE-511DE8F23B15}"/>
              </a:ext>
            </a:extLst>
          </p:cNvPr>
          <p:cNvCxnSpPr/>
          <p:nvPr/>
        </p:nvCxnSpPr>
        <p:spPr>
          <a:xfrm>
            <a:off x="9086655" y="1672855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3">
            <a:extLst>
              <a:ext uri="{FF2B5EF4-FFF2-40B4-BE49-F238E27FC236}">
                <a16:creationId xmlns:a16="http://schemas.microsoft.com/office/drawing/2014/main" id="{9AA65630-B3E2-B9F4-55AA-72DB2A953044}"/>
              </a:ext>
            </a:extLst>
          </p:cNvPr>
          <p:cNvCxnSpPr/>
          <p:nvPr/>
        </p:nvCxnSpPr>
        <p:spPr>
          <a:xfrm>
            <a:off x="6851952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">
            <a:extLst>
              <a:ext uri="{FF2B5EF4-FFF2-40B4-BE49-F238E27FC236}">
                <a16:creationId xmlns:a16="http://schemas.microsoft.com/office/drawing/2014/main" id="{31961AFE-E1BF-BC7B-25B3-2180D6138CB0}"/>
              </a:ext>
            </a:extLst>
          </p:cNvPr>
          <p:cNvCxnSpPr/>
          <p:nvPr/>
        </p:nvCxnSpPr>
        <p:spPr>
          <a:xfrm>
            <a:off x="4702784" y="1684427"/>
            <a:ext cx="0" cy="288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702168-7311-060B-0D3A-25A9452FB674}"/>
              </a:ext>
            </a:extLst>
          </p:cNvPr>
          <p:cNvGrpSpPr/>
          <p:nvPr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F39201A7-8696-AD95-0E3B-EBED06C9F14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46A704E6-B221-9DB5-C484-794E974F4FD3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8C9A13A4-9489-DBCC-974E-D82FE439352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45D8400D-1ECD-B52B-0835-C2201BBCAE71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2A5F1A36-1861-7F1D-AAE4-F4E02ACEA2E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2">
              <a:extLst>
                <a:ext uri="{FF2B5EF4-FFF2-40B4-BE49-F238E27FC236}">
                  <a16:creationId xmlns:a16="http://schemas.microsoft.com/office/drawing/2014/main" id="{47958642-9C3E-5C76-7A92-FAB0E72423FD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3">
              <a:extLst>
                <a:ext uri="{FF2B5EF4-FFF2-40B4-BE49-F238E27FC236}">
                  <a16:creationId xmlns:a16="http://schemas.microsoft.com/office/drawing/2014/main" id="{9215827F-8521-46BD-B127-F95C1F3E8A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FA0404F2-F9A4-815F-04D6-40FA937CFD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1471857"/>
            <a:ext cx="950014" cy="685756"/>
          </a:xfrm>
          <a:solidFill>
            <a:schemeClr val="accent1"/>
          </a:solidFill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cap="all" spc="4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97E55EE-C6A9-29B9-8072-9939ABCC44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5" cy="216000"/>
          </a:xfrm>
          <a:prstGeom prst="rect">
            <a:avLst/>
          </a:prstGeom>
          <a:noFill/>
        </p:spPr>
        <p:txBody>
          <a:bodyPr anchor="b" anchorCtr="0"/>
          <a:lstStyle>
            <a:lvl1pPr>
              <a:spcAft>
                <a:spcPts val="1200"/>
              </a:spcAft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42A6E3A-D34D-3BE7-A506-973E0525F242}"/>
              </a:ext>
            </a:extLst>
          </p:cNvPr>
          <p:cNvSpPr txBox="1"/>
          <p:nvPr userDrawn="1"/>
        </p:nvSpPr>
        <p:spPr>
          <a:xfrm>
            <a:off x="1088884" y="1718680"/>
            <a:ext cx="1004762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FACTS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423A66BD-6439-CDA6-3E86-DB163A39D8F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8799" y="2964921"/>
            <a:ext cx="5090718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E3FF890F-090B-1456-C435-D051CBD43C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88475" y="2964921"/>
            <a:ext cx="2698875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BE2D5199-3F04-A03C-AADD-53DD710A2C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07432" y="2964921"/>
            <a:ext cx="2465673" cy="3173077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18615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24650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91C8"/>
              </a:solidFill>
              <a:effectLst/>
              <a:uLnTx/>
              <a:uFillTx/>
              <a:latin typeface="Arial" panose="020B0604020202020204" pitchFamily="34" charset="0"/>
              <a:ea typeface="Open Sans Semibold" panose="020B07060308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36042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24650"/>
              </a:buClr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91C8"/>
              </a:solidFill>
              <a:effectLst/>
              <a:uLnTx/>
              <a:uFillTx/>
              <a:latin typeface="Arial" panose="020B0604020202020204" pitchFamily="34" charset="0"/>
              <a:ea typeface="Open Sans Semibold" panose="020B07060308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6000" y="1224000"/>
            <a:ext cx="3600000" cy="2250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10" name="Rechteck: abgerundete Ecken 11">
            <a:extLst>
              <a:ext uri="{FF2B5EF4-FFF2-40B4-BE49-F238E27FC236}">
                <a16:creationId xmlns:a16="http://schemas.microsoft.com/office/drawing/2014/main" id="{92C96352-573F-2FC9-E98D-F8CAD77D796D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D550E258-96D1-B5F1-2DCF-D0CEF37C0371}"/>
              </a:ext>
            </a:extLst>
          </p:cNvPr>
          <p:cNvSpPr>
            <a:spLocks/>
          </p:cNvSpPr>
          <p:nvPr userDrawn="1"/>
        </p:nvSpPr>
        <p:spPr>
          <a:xfrm>
            <a:off x="4481282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8485AF46-F0DE-B958-C8AD-CA5D2ABD1E34}"/>
              </a:ext>
            </a:extLst>
          </p:cNvPr>
          <p:cNvSpPr>
            <a:spLocks/>
          </p:cNvSpPr>
          <p:nvPr userDrawn="1"/>
        </p:nvSpPr>
        <p:spPr>
          <a:xfrm>
            <a:off x="7798631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all" spc="0" normalizeH="0" baseline="0" noProof="0">
                <a:ln>
                  <a:noFill/>
                </a:ln>
                <a:solidFill>
                  <a:srgbClr val="7091C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4B69629-DFBF-5909-FA8F-47719B924F9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7978A72-8177-2FE6-F6E3-52F77F104F6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8B039E53-EBD2-DDC8-77D2-9F30205DA0E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81283" y="1530910"/>
            <a:ext cx="3103942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B1C17E6A-E11C-8079-68F6-B4DF9F6DDB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798631" y="1530910"/>
            <a:ext cx="3914095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5399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7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kumimoji="0" sz="4000" b="1" i="0" u="none" strike="noStrike" kern="0" cap="none" spc="0" normalizeH="0" baseline="0" noProof="0">
              <a:ln>
                <a:noFill/>
              </a:ln>
              <a:solidFill>
                <a:srgbClr val="FF2952"/>
              </a:solidFill>
              <a:effectLst/>
              <a:uLnTx/>
              <a:uFillTx/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kumimoji="0" sz="2800" b="1" i="0" u="none" strike="noStrike" kern="0" cap="none" spc="19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</p:spTree>
    <p:extLst>
      <p:ext uri="{BB962C8B-B14F-4D97-AF65-F5344CB8AC3E}">
        <p14:creationId xmlns:p14="http://schemas.microsoft.com/office/powerpoint/2010/main" val="628118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200" b="1" i="0" baseline="0" err="1">
              <a:solidFill>
                <a:schemeClr val="tx1"/>
              </a:solidFill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C50CBA42-791E-4851-9FB4-39A223136DC3}" type="slidenum">
              <a:rPr lang="de-DE" smtClean="0"/>
              <a:t>‹#›</a:t>
            </a:fld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33340707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V-Prof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8EF60B27-1D4B-C94F-3A63-44CD93A21E71}"/>
              </a:ext>
            </a:extLst>
          </p:cNvPr>
          <p:cNvSpPr/>
          <p:nvPr userDrawn="1"/>
        </p:nvSpPr>
        <p:spPr>
          <a:xfrm>
            <a:off x="0" y="3646743"/>
            <a:ext cx="12192000" cy="32112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045CB-9910-A8BA-3ECD-4270AA1EF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F13BA3-4DBD-492F-AF1C-C76B12832872}" type="datetime1">
              <a:rPr lang="de-DE" smtClean="0"/>
              <a:pPr/>
              <a:t>03.06.25</a:t>
            </a:fld>
            <a:endParaRPr lang="en-DE"/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2EBA78E4-D79A-89F2-769D-5FEF9B171A34}"/>
              </a:ext>
            </a:extLst>
          </p:cNvPr>
          <p:cNvSpPr>
            <a:spLocks/>
          </p:cNvSpPr>
          <p:nvPr userDrawn="1"/>
        </p:nvSpPr>
        <p:spPr>
          <a:xfrm>
            <a:off x="478800" y="3767357"/>
            <a:ext cx="3162469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ERFAHRUNGEN (AUSZUG)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67C9BF02-94CA-3F79-303A-00A08EC165C3}"/>
              </a:ext>
            </a:extLst>
          </p:cNvPr>
          <p:cNvSpPr txBox="1">
            <a:spLocks/>
          </p:cNvSpPr>
          <p:nvPr userDrawn="1"/>
        </p:nvSpPr>
        <p:spPr>
          <a:xfrm>
            <a:off x="7133601" y="626225"/>
            <a:ext cx="2115492" cy="5040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Tx/>
              <a:buNone/>
              <a:defRPr lang="en-US" sz="1600" kern="1200" baseline="0" dirty="0" smtClean="0">
                <a:solidFill>
                  <a:schemeClr val="tx1"/>
                </a:solidFill>
                <a:latin typeface="Futura-Book" panose="020B0500000000000000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542925" indent="-180975" algn="l" defTabSz="720725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714375" indent="-180975" algn="l" defTabSz="914400" rtl="0" eaLnBrk="1" latinLnBrk="0" hangingPunct="1">
              <a:spcBef>
                <a:spcPct val="20000"/>
              </a:spcBef>
              <a:buClr>
                <a:srgbClr val="324B5F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utura-Book" panose="020B0500000000000000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24650"/>
              </a:buClr>
            </a:pPr>
            <a:endParaRPr lang="en-US" sz="1000" b="1">
              <a:solidFill>
                <a:srgbClr val="7091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el 8">
            <a:extLst>
              <a:ext uri="{FF2B5EF4-FFF2-40B4-BE49-F238E27FC236}">
                <a16:creationId xmlns:a16="http://schemas.microsoft.com/office/drawing/2014/main" id="{230EBE96-F367-ADEE-698C-794B1F9DB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8" y="720000"/>
            <a:ext cx="11233928" cy="30777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7" name="Titel 8">
            <a:extLst>
              <a:ext uri="{FF2B5EF4-FFF2-40B4-BE49-F238E27FC236}">
                <a16:creationId xmlns:a16="http://schemas.microsoft.com/office/drawing/2014/main" id="{FE83C45F-9FC4-3E0D-2F78-DA3E226153F9}"/>
              </a:ext>
            </a:extLst>
          </p:cNvPr>
          <p:cNvSpPr txBox="1">
            <a:spLocks/>
          </p:cNvSpPr>
          <p:nvPr userDrawn="1"/>
        </p:nvSpPr>
        <p:spPr>
          <a:xfrm>
            <a:off x="7096151" y="472019"/>
            <a:ext cx="2072526" cy="1692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endParaRPr lang="de-DE" sz="1100"/>
          </a:p>
        </p:txBody>
      </p:sp>
      <p:sp>
        <p:nvSpPr>
          <p:cNvPr id="32" name="Fußzeilenplatzhalter 6">
            <a:extLst>
              <a:ext uri="{FF2B5EF4-FFF2-40B4-BE49-F238E27FC236}">
                <a16:creationId xmlns:a16="http://schemas.microsoft.com/office/drawing/2014/main" id="{7435D1E4-2C0B-64F6-C70F-8A54C73F83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err="1"/>
              <a:t>Senacor</a:t>
            </a:r>
            <a:r>
              <a:rPr lang="de-DE"/>
              <a:t> Technologies AG</a:t>
            </a:r>
            <a:endParaRPr lang="en-DE"/>
          </a:p>
        </p:txBody>
      </p:sp>
      <p:sp>
        <p:nvSpPr>
          <p:cNvPr id="33" name="Foliennummernplatzhalter 7">
            <a:extLst>
              <a:ext uri="{FF2B5EF4-FFF2-40B4-BE49-F238E27FC236}">
                <a16:creationId xmlns:a16="http://schemas.microsoft.com/office/drawing/2014/main" id="{F40297E4-401C-6AA7-79A5-625B43EC6E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42800" y="6555600"/>
            <a:ext cx="457200" cy="122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3DBB63-5C76-DA40-949C-F00FB53C9B50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Textplatzhalter 19">
            <a:extLst>
              <a:ext uri="{FF2B5EF4-FFF2-40B4-BE49-F238E27FC236}">
                <a16:creationId xmlns:a16="http://schemas.microsoft.com/office/drawing/2014/main" id="{B8638FD1-C19D-976E-B47E-FD06A77478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</p:spPr>
        <p:txBody>
          <a:bodyPr anchor="b"/>
          <a:lstStyle>
            <a:lvl1pPr>
              <a:defRPr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OSITIO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70703A-A2ED-100F-E13F-807CC571C73E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B690517-B014-AE68-20CA-6FA8A7C5A6D2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B8A0262-724C-A5AF-3FFA-D489B38269A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88E974A-F5F5-831D-B7E1-64FF88CFCBC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ihandform: Form 10">
              <a:extLst>
                <a:ext uri="{FF2B5EF4-FFF2-40B4-BE49-F238E27FC236}">
                  <a16:creationId xmlns:a16="http://schemas.microsoft.com/office/drawing/2014/main" id="{05704E5D-EF36-7ACB-EA1C-3F44DD81FE22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:a16="http://schemas.microsoft.com/office/drawing/2014/main" id="{7ECE5ED0-6B0A-EE02-B575-242372D1883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:a16="http://schemas.microsoft.com/office/drawing/2014/main" id="{4C35C0CA-B9A0-7EDB-8C17-3D7F3042393A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:a16="http://schemas.microsoft.com/office/drawing/2014/main" id="{35E01CE3-9B7E-3132-01F5-5EEDC7B1C43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15525724-B25E-C57C-BD5B-DA167EB3BDE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67318" y="1224000"/>
            <a:ext cx="2268000" cy="22680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Foto</a:t>
            </a:r>
          </a:p>
        </p:txBody>
      </p:sp>
      <p:sp>
        <p:nvSpPr>
          <p:cNvPr id="2" name="Rechteck: abgerundete Ecken 11">
            <a:extLst>
              <a:ext uri="{FF2B5EF4-FFF2-40B4-BE49-F238E27FC236}">
                <a16:creationId xmlns:a16="http://schemas.microsoft.com/office/drawing/2014/main" id="{2570A174-E936-064E-B6EF-61EC5246BD46}"/>
              </a:ext>
            </a:extLst>
          </p:cNvPr>
          <p:cNvSpPr>
            <a:spLocks/>
          </p:cNvSpPr>
          <p:nvPr userDrawn="1"/>
        </p:nvSpPr>
        <p:spPr>
          <a:xfrm>
            <a:off x="3247391" y="1194852"/>
            <a:ext cx="628377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</a:p>
        </p:txBody>
      </p:sp>
      <p:sp>
        <p:nvSpPr>
          <p:cNvPr id="6" name="Rechteck: abgerundete Ecken 11">
            <a:extLst>
              <a:ext uri="{FF2B5EF4-FFF2-40B4-BE49-F238E27FC236}">
                <a16:creationId xmlns:a16="http://schemas.microsoft.com/office/drawing/2014/main" id="{F9564871-2315-F917-936A-A63BE5426721}"/>
              </a:ext>
            </a:extLst>
          </p:cNvPr>
          <p:cNvSpPr>
            <a:spLocks/>
          </p:cNvSpPr>
          <p:nvPr userDrawn="1"/>
        </p:nvSpPr>
        <p:spPr>
          <a:xfrm>
            <a:off x="6684354" y="1194852"/>
            <a:ext cx="3771610" cy="21544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cap="all" spc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 &amp; BERUFLICHE ERFAHRUNG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E89FB22-ACD1-278F-920A-970D75D4DDA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8797" y="4082736"/>
            <a:ext cx="5501753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307136A-0F0F-491A-C7D1-A6953ABC9F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8247" y="4082736"/>
            <a:ext cx="5514479" cy="2281242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2E654FE3-3BF6-5457-8FEE-A564F438199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47391" y="1530910"/>
            <a:ext cx="3214778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kus hinzufügen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E0DCADE-741F-18AD-F878-A5B92F29B9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84354" y="1530910"/>
            <a:ext cx="5028373" cy="1950990"/>
          </a:xfrm>
        </p:spPr>
        <p:txBody>
          <a:bodyPr wrap="square">
            <a:noAutofit/>
          </a:bodyPr>
          <a:lstStyle>
            <a:lvl1pPr marL="171450" indent="-1714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usbildung &amp; berufliche Erfahrung hinzufügen</a:t>
            </a:r>
          </a:p>
          <a:p>
            <a:pPr lvl="0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259AD18-06AD-A538-861B-28ED3C8BB8A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66750" y="1223963"/>
            <a:ext cx="2268538" cy="2268537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05652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icture Color">
    <p:bg>
      <p:bgPr>
        <a:solidFill>
          <a:srgbClr val="3737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F1D00F2-5A27-D2D5-9A1E-969E40F7DF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406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27348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Pictur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Ein Bild, das Schwarzweiß, monochrom, monochrome Fotografie, Schild enthält.&#10;&#10;Automatisch generierte Beschreibung">
            <a:extLst>
              <a:ext uri="{FF2B5EF4-FFF2-40B4-BE49-F238E27FC236}">
                <a16:creationId xmlns:a16="http://schemas.microsoft.com/office/drawing/2014/main" id="{B9DC2D06-93DD-AA25-5FEF-821B28CF887B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FB5BA48-4454-7A0D-6DFB-3E6FCD2CEC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6" y="6188074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400" b="0" i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fld id="{839F1E32-B95E-EF4D-87DF-C15F9AC4160D}" type="datetime4">
              <a:rPr lang="de-DE" smtClean="0"/>
              <a:t>20. Juli 2023</a:t>
            </a:fld>
            <a:r>
              <a:rPr lang="de-DE"/>
              <a:t> - SENACOR TECHNOLOGIES A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55B362C6-4BE1-4F9E-45D3-6FDD278DEB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618086"/>
            <a:ext cx="11233149" cy="19408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lang="de-DE" sz="1800" b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z="1800" smtClean="0">
                <a:latin typeface="+mn-lt"/>
                <a:cs typeface="+mn-cs"/>
              </a:defRPr>
            </a:lvl2pPr>
            <a:lvl3pPr>
              <a:defRPr lang="de-DE" sz="1800" smtClean="0">
                <a:latin typeface="+mn-lt"/>
                <a:cs typeface="+mn-cs"/>
              </a:defRPr>
            </a:lvl3pPr>
            <a:lvl4pPr>
              <a:defRPr lang="de-DE" sz="1800" smtClean="0">
                <a:latin typeface="+mn-lt"/>
                <a:cs typeface="+mn-cs"/>
              </a:defRPr>
            </a:lvl4pPr>
            <a:lvl5pPr>
              <a:defRPr lang="de-DE" sz="1800">
                <a:latin typeface="+mn-lt"/>
                <a:cs typeface="+mn-cs"/>
              </a:defRPr>
            </a:lvl5pPr>
          </a:lstStyle>
          <a:p>
            <a:pPr lvl="0" algn="r">
              <a:spcBef>
                <a:spcPct val="0"/>
              </a:spcBef>
            </a:pPr>
            <a:r>
              <a:rPr lang="de-DE"/>
              <a:t>Autor oder Unt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30F8B86-4730-D72D-10A3-7F0D936B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64125"/>
            <a:ext cx="11233149" cy="492443"/>
          </a:xfrm>
        </p:spPr>
        <p:txBody>
          <a:bodyPr/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3307714-6AE3-C649-A88C-B1E0A00E7E91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5CD0350E-1B4B-93C5-4042-6D7DD1480FD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7" name="Freihandform: Form 8">
              <a:extLst>
                <a:ext uri="{FF2B5EF4-FFF2-40B4-BE49-F238E27FC236}">
                  <a16:creationId xmlns:a16="http://schemas.microsoft.com/office/drawing/2014/main" id="{572C2126-4CA4-8173-7328-15F408CFAA6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8" name="Freihandform: Form 9">
              <a:extLst>
                <a:ext uri="{FF2B5EF4-FFF2-40B4-BE49-F238E27FC236}">
                  <a16:creationId xmlns:a16="http://schemas.microsoft.com/office/drawing/2014/main" id="{6BF00576-4CC5-D53B-E741-361ECBFE81C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F4B419BC-DDB3-61FE-AF01-6B26F9531D8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A640000B-04B7-F422-4771-FF1C595C752C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6A18C08D-4905-EB9A-3B0B-2BFEE313EE8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19F995E3-9E0F-CB57-7890-33D13EEA470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1961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45C90B7-C435-958D-5939-1621816DA79E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59126230-BBA2-582C-5D7E-6C71520E1B9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6886AB1A-EDE6-5C69-0957-E6AAF917939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0070310C-4800-0871-5313-17DD8FCAD5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4A164321-7134-5A41-E758-17C2D52C5F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4871BC85-C821-797C-8CA5-73EEB6A5052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D4365D0C-2EF0-8540-FE93-CBA3A1CCBCC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96509F43-5CBD-2C95-C86C-66638B70033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7162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45C90B7-C435-958D-5939-1621816DA79E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59126230-BBA2-582C-5D7E-6C71520E1B9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6886AB1A-EDE6-5C69-0957-E6AAF917939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0070310C-4800-0871-5313-17DD8FCAD5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4A164321-7134-5A41-E758-17C2D52C5F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4871BC85-C821-797C-8CA5-73EEB6A5052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D4365D0C-2EF0-8540-FE93-CBA3A1CCBCC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96509F43-5CBD-2C95-C86C-66638B700336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EEF6780-456D-8965-859A-ADAE278CE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1090238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5508624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 lang="de-DE" dirty="0"/>
            </a:lvl7pPr>
            <a:lvl8pPr>
              <a:buClr>
                <a:schemeClr val="tx1"/>
              </a:buClr>
              <a:defRPr lang="de-DE" dirty="0"/>
            </a:lvl8pPr>
            <a:lvl9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>
              <a:buClr>
                <a:schemeClr val="tx1"/>
              </a:buClr>
            </a:pPr>
            <a:r>
              <a:rPr lang="de-DE"/>
              <a:t>Erste Aufzählungsebene</a:t>
            </a:r>
          </a:p>
          <a:p>
            <a:pPr lvl="3">
              <a:buClr>
                <a:schemeClr val="tx1"/>
              </a:buClr>
            </a:pPr>
            <a:r>
              <a:rPr lang="de-DE"/>
              <a:t>Zweite Aufzählungsebene</a:t>
            </a:r>
          </a:p>
          <a:p>
            <a:pPr lvl="4">
              <a:buClr>
                <a:schemeClr val="tx1"/>
              </a:buClr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>
              <a:buClr>
                <a:schemeClr val="tx1"/>
              </a:buClr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3297B8A-3EFD-9096-0A2F-E27AE136AAB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0" y="1692000"/>
            <a:ext cx="5508625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 lang="de-DE" dirty="0"/>
            </a:lvl7pPr>
            <a:lvl8pPr>
              <a:buClr>
                <a:schemeClr val="tx1"/>
              </a:buClr>
              <a:defRPr lang="de-DE" dirty="0"/>
            </a:lvl8pPr>
            <a:lvl9pPr>
              <a:buClr>
                <a:schemeClr val="tx1"/>
              </a:buClr>
              <a:defRPr lang="de-DE" dirty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>
              <a:buClr>
                <a:schemeClr val="tx1"/>
              </a:buClr>
            </a:pPr>
            <a:r>
              <a:rPr lang="de-DE"/>
              <a:t>Erste Aufzählungsebene</a:t>
            </a:r>
          </a:p>
          <a:p>
            <a:pPr lvl="3">
              <a:buClr>
                <a:schemeClr val="tx1"/>
              </a:buClr>
            </a:pPr>
            <a:r>
              <a:rPr lang="de-DE"/>
              <a:t>Zweite Aufzählungsebene</a:t>
            </a:r>
          </a:p>
          <a:p>
            <a:pPr lvl="4">
              <a:buClr>
                <a:schemeClr val="tx1"/>
              </a:buClr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>
              <a:buClr>
                <a:schemeClr val="tx1"/>
              </a:buClr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282A9AF-A4AA-E84C-591A-B3E375E639E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1481B85E-07B2-FA3B-F0C0-577717C901B0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65B32A0B-364C-12E2-BDBA-0056A8956F2B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BF3FF4CE-AAFC-83FF-10EC-85FBAD7674E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66887711-09B1-E8A0-7E65-FD912AD1276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BA7494B3-F402-3647-75B9-BA4FFB9E9995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DAB01C47-4AD1-F51D-02F2-5B87B5C66FD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13">
              <a:extLst>
                <a:ext uri="{FF2B5EF4-FFF2-40B4-BE49-F238E27FC236}">
                  <a16:creationId xmlns:a16="http://schemas.microsoft.com/office/drawing/2014/main" id="{D0666673-6E22-8A0D-ED15-DF0FF50E7180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8434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3908">
          <p15:clr>
            <a:srgbClr val="FBAE40"/>
          </p15:clr>
        </p15:guide>
        <p15:guide id="7" pos="377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2E0404E-6FDD-81E9-20EA-B6504879D9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3600450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91CAEC5D-CCB3-7934-7921-07D698C3673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5112" y="1692000"/>
            <a:ext cx="3600450" cy="45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0F70025F-3B55-957F-33E5-3E1627255D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0800" y="1692000"/>
            <a:ext cx="3600000" cy="45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80217CF-EA16-F82A-43DD-E24538BC2C65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C32D8107-52D7-AEB0-4B45-A07D1205825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853E05CF-B7EB-C6C5-62EB-51CC3C90A00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2D16DA4F-2A80-0F22-0BC2-DC9D0938384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0" name="Freihandform: Form 10">
              <a:extLst>
                <a:ext uri="{FF2B5EF4-FFF2-40B4-BE49-F238E27FC236}">
                  <a16:creationId xmlns:a16="http://schemas.microsoft.com/office/drawing/2014/main" id="{8D1D2A26-B367-03D8-F785-0DF0F39F6CC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286EFAD0-4F98-F2AB-3F35-14983585821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A695ADA1-FCC3-2E7E-4BA8-8C99CCBBD02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D694A3A4-C8BB-435F-867A-D46A30CEA2E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09347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706">
          <p15:clr>
            <a:srgbClr val="FBAE40"/>
          </p15:clr>
        </p15:guide>
        <p15:guide id="7" pos="2570">
          <p15:clr>
            <a:srgbClr val="FBAE40"/>
          </p15:clr>
        </p15:guide>
        <p15:guide id="8" pos="4974">
          <p15:clr>
            <a:srgbClr val="FBAE40"/>
          </p15:clr>
        </p15:guide>
        <p15:guide id="9" pos="511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2700963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4225" y="1692000"/>
            <a:ext cx="2700338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7" y="1692000"/>
            <a:ext cx="2700337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12238" y="1692000"/>
            <a:ext cx="2700337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C6FB903-26F1-7FE7-8F15-25C9039503F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A813A829-6CF6-2C31-D617-CF0083C672C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D073C6-EB63-41FB-4AFD-F0F4C16BCC1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8F5C800C-A878-CD92-F785-DBA13687668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3AAAC195-75A1-9913-0378-FBFF81F6A42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E93C66CD-17A7-837E-009F-87462E06645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48F776FF-142D-B479-EBBE-E1C8F5CCEFF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CD8D39E7-724D-12A4-ED7F-A135AA85D90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6371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094">
          <p15:clr>
            <a:srgbClr val="FBAE40"/>
          </p15:clr>
        </p15:guide>
        <p15:guide id="7" pos="2003">
          <p15:clr>
            <a:srgbClr val="FBAE40"/>
          </p15:clr>
        </p15:guide>
        <p15:guide id="8" pos="3795">
          <p15:clr>
            <a:srgbClr val="FBAE40"/>
          </p15:clr>
        </p15:guide>
        <p15:guide id="9" pos="3885">
          <p15:clr>
            <a:srgbClr val="FBAE40"/>
          </p15:clr>
        </p15:guide>
        <p15:guide id="10" pos="5586">
          <p15:clr>
            <a:srgbClr val="FBAE40"/>
          </p15:clr>
        </p15:guide>
        <p15:guide id="11" pos="567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149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8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56242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11130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88574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499F2FB0-58B1-D969-081F-99F9FC1EECE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033686" y="1692000"/>
            <a:ext cx="2124000" cy="450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7D259B6-1CB4-4C8E-99F8-01C85CF10F9D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6" name="Freihandform: Form 7">
              <a:extLst>
                <a:ext uri="{FF2B5EF4-FFF2-40B4-BE49-F238E27FC236}">
                  <a16:creationId xmlns:a16="http://schemas.microsoft.com/office/drawing/2014/main" id="{476014FB-B077-0B2D-970C-25C82E4125C3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7D223BBF-F397-3BFC-F3BF-A502AF49F2A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E1BE9B29-0E28-644B-9949-8F728DDBCD2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21C4621F-7C41-A20D-A1A9-14D27CA25EE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76F2B95D-AD04-D6BA-8B1F-6DDF88B9B6A7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2141D692-3F96-3A53-0FC4-2A4D661E03E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0BDB0DF2-BD35-1B66-C2F3-1803CD37469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3938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1731">
          <p15:clr>
            <a:srgbClr val="FBAE40"/>
          </p15:clr>
        </p15:guide>
        <p15:guide id="7" pos="1640">
          <p15:clr>
            <a:srgbClr val="FBAE40"/>
          </p15:clr>
        </p15:guide>
        <p15:guide id="8" pos="3069">
          <p15:clr>
            <a:srgbClr val="FBAE40"/>
          </p15:clr>
        </p15:guide>
        <p15:guide id="9" pos="3160">
          <p15:clr>
            <a:srgbClr val="FBAE40"/>
          </p15:clr>
        </p15:guide>
        <p15:guide id="10" pos="5949">
          <p15:clr>
            <a:srgbClr val="FBAE40"/>
          </p15:clr>
        </p15:guide>
        <p15:guide id="11" pos="6040">
          <p15:clr>
            <a:srgbClr val="FBAE40"/>
          </p15:clr>
        </p15:guide>
        <p15:guide id="12" pos="4520">
          <p15:clr>
            <a:srgbClr val="FBAE40"/>
          </p15:clr>
        </p15:guide>
        <p15:guide id="13" pos="461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2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22E0404E-6FDD-81E9-20EA-B6504879D90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5" y="169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91CAEC5D-CCB3-7934-7921-07D698C3673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5775" y="169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0F70025F-3B55-957F-33E5-3E1627255D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12126" y="1692000"/>
            <a:ext cx="3587873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Inhaltsplatzhalter 16">
            <a:extLst>
              <a:ext uri="{FF2B5EF4-FFF2-40B4-BE49-F238E27FC236}">
                <a16:creationId xmlns:a16="http://schemas.microsoft.com/office/drawing/2014/main" id="{EC758001-3F28-4840-5033-B01A8D44F0F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8800" y="403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5" name="Inhaltsplatzhalter 20">
            <a:extLst>
              <a:ext uri="{FF2B5EF4-FFF2-40B4-BE49-F238E27FC236}">
                <a16:creationId xmlns:a16="http://schemas.microsoft.com/office/drawing/2014/main" id="{357B8B75-D241-07F7-0267-11F96E0D316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4702" y="4032000"/>
            <a:ext cx="3587873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2FB7EEF-2CC9-795E-B0A5-8489F270A50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C32130C-D13D-3012-38B8-01C80F58D1D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39190A96-7BA0-0E94-3E2C-ED5BFD80AF8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9CCA9BAF-1D97-7035-3873-4D4BAD6A67F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44B3C3B5-C3DE-E785-DA29-9AFBE7806AA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D5A7834E-E462-2863-4360-E9AB632BAAD3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1A652ACF-E816-2C31-E4EA-3E90A087C6A1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14A47562-F091-7DDC-1CCB-5AA6147E7260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22" name="Inhaltsplatzhalter 18">
            <a:extLst>
              <a:ext uri="{FF2B5EF4-FFF2-40B4-BE49-F238E27FC236}">
                <a16:creationId xmlns:a16="http://schemas.microsoft.com/office/drawing/2014/main" id="{1191895F-D256-467C-CE59-D3F4FF86ED1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308351" y="4032000"/>
            <a:ext cx="3600450" cy="216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4010189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706">
          <p15:clr>
            <a:srgbClr val="FBAE40"/>
          </p15:clr>
        </p15:guide>
        <p15:guide id="7" pos="2570">
          <p15:clr>
            <a:srgbClr val="FBAE40"/>
          </p15:clr>
        </p15:guide>
        <p15:guide id="8" pos="4974">
          <p15:clr>
            <a:srgbClr val="FBAE40"/>
          </p15:clr>
        </p15:guide>
        <p15:guide id="9" pos="5110">
          <p15:clr>
            <a:srgbClr val="FBAE40"/>
          </p15:clr>
        </p15:guide>
        <p15:guide id="10" orient="horz" pos="2432">
          <p15:clr>
            <a:srgbClr val="FBAE40"/>
          </p15:clr>
        </p15:guide>
        <p15:guide id="11" orient="horz" pos="256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x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2AE0B4-8D70-1D06-7B90-7083C417790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2700963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7BC72F6-D180-530A-E697-7A3C4E150A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24225" y="1692000"/>
            <a:ext cx="2698748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A01628C4-C1C5-7B3B-6E04-7821D7DB49C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7" y="1692000"/>
            <a:ext cx="2700337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8A173752-2512-D95C-DE43-00AA425A984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010463" y="1692000"/>
            <a:ext cx="2700337" cy="2232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C6FB903-26F1-7FE7-8F15-25C9039503F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A813A829-6CF6-2C31-D617-CF0083C672C5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D073C6-EB63-41FB-4AFD-F0F4C16BCC1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9">
              <a:extLst>
                <a:ext uri="{FF2B5EF4-FFF2-40B4-BE49-F238E27FC236}">
                  <a16:creationId xmlns:a16="http://schemas.microsoft.com/office/drawing/2014/main" id="{8F5C800C-A878-CD92-F785-DBA136876682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3AAAC195-75A1-9913-0378-FBFF81F6A42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E93C66CD-17A7-837E-009F-87462E06645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48F776FF-142D-B479-EBBE-E1C8F5CCEFFC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CD8D39E7-724D-12A4-ED7F-A135AA85D90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9" name="Inhaltsplatzhalter 29">
            <a:extLst>
              <a:ext uri="{FF2B5EF4-FFF2-40B4-BE49-F238E27FC236}">
                <a16:creationId xmlns:a16="http://schemas.microsoft.com/office/drawing/2014/main" id="{5808EA1A-6C82-B1E9-C9A4-87D6F343312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8800" y="4091601"/>
            <a:ext cx="2700337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0" name="Inhaltsplatzhalter 31">
            <a:extLst>
              <a:ext uri="{FF2B5EF4-FFF2-40B4-BE49-F238E27FC236}">
                <a16:creationId xmlns:a16="http://schemas.microsoft.com/office/drawing/2014/main" id="{5FE09DC3-4B7D-EA72-A930-15819F3BC16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22800" y="4091601"/>
            <a:ext cx="2700338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1" name="Inhaltsplatzhalter 33">
            <a:extLst>
              <a:ext uri="{FF2B5EF4-FFF2-40B4-BE49-F238E27FC236}">
                <a16:creationId xmlns:a16="http://schemas.microsoft.com/office/drawing/2014/main" id="{13123010-32D2-F508-84C7-0320E4AA9A8C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166801" y="4091601"/>
            <a:ext cx="2700337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2" name="Inhaltsplatzhalter 35">
            <a:extLst>
              <a:ext uri="{FF2B5EF4-FFF2-40B4-BE49-F238E27FC236}">
                <a16:creationId xmlns:a16="http://schemas.microsoft.com/office/drawing/2014/main" id="{34C770EF-E979-2827-C9A5-B6257F65678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10800" y="4091601"/>
            <a:ext cx="2700000" cy="2232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>
                <a:schemeClr val="tx1"/>
              </a:buCl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F34A883-1985-5017-91E7-DCB6D9C26E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11232000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1-2 </a:t>
            </a:r>
            <a:r>
              <a:rPr lang="en-US" err="1"/>
              <a:t>zeilige</a:t>
            </a:r>
            <a:r>
              <a:rPr lang="en-US"/>
              <a:t> </a:t>
            </a:r>
            <a:r>
              <a:rPr lang="en-US" err="1"/>
              <a:t>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03102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2094">
          <p15:clr>
            <a:srgbClr val="FBAE40"/>
          </p15:clr>
        </p15:guide>
        <p15:guide id="7" pos="2003">
          <p15:clr>
            <a:srgbClr val="FBAE40"/>
          </p15:clr>
        </p15:guide>
        <p15:guide id="8" pos="3795">
          <p15:clr>
            <a:srgbClr val="FBAE40"/>
          </p15:clr>
        </p15:guide>
        <p15:guide id="9" pos="3885">
          <p15:clr>
            <a:srgbClr val="FBAE40"/>
          </p15:clr>
        </p15:guide>
        <p15:guide id="10" pos="5586">
          <p15:clr>
            <a:srgbClr val="FBAE40"/>
          </p15:clr>
        </p15:guide>
        <p15:guide id="11" pos="5677">
          <p15:clr>
            <a:srgbClr val="FBAE40"/>
          </p15:clr>
        </p15:guide>
        <p15:guide id="12" orient="horz" pos="2432">
          <p15:clr>
            <a:srgbClr val="FBAE40"/>
          </p15:clr>
        </p15:guide>
        <p15:guide id="13" orient="horz" pos="256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4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20000"/>
            <a:ext cx="7524751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7524751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EA69D08-A500-36F4-6CFF-EFC5A5E42D29}"/>
              </a:ext>
            </a:extLst>
          </p:cNvPr>
          <p:cNvSpPr/>
          <p:nvPr userDrawn="1"/>
        </p:nvSpPr>
        <p:spPr>
          <a:xfrm>
            <a:off x="8232000" y="0"/>
            <a:ext cx="3960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C3297B8A-3EFD-9096-0A2F-E27AE136AAB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435975" y="1692000"/>
            <a:ext cx="3276599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bg1"/>
              </a:buClr>
              <a:defRPr lang="de-DE" sz="1200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bg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bg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bg1"/>
              </a:buClr>
              <a:defRPr lang="de-DE" sz="8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383AA72-4F75-408C-1FE4-F62F8CDD5A2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19" name="Freihandform: Form 7">
              <a:extLst>
                <a:ext uri="{FF2B5EF4-FFF2-40B4-BE49-F238E27FC236}">
                  <a16:creationId xmlns:a16="http://schemas.microsoft.com/office/drawing/2014/main" id="{97E84301-3E6B-D406-2FA9-F7D98295B1E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8">
              <a:extLst>
                <a:ext uri="{FF2B5EF4-FFF2-40B4-BE49-F238E27FC236}">
                  <a16:creationId xmlns:a16="http://schemas.microsoft.com/office/drawing/2014/main" id="{55067C28-F5FC-D320-3049-805C65CD3F6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9">
              <a:extLst>
                <a:ext uri="{FF2B5EF4-FFF2-40B4-BE49-F238E27FC236}">
                  <a16:creationId xmlns:a16="http://schemas.microsoft.com/office/drawing/2014/main" id="{35F5C339-BC04-8BFD-D5ED-94C330763E1D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0">
              <a:extLst>
                <a:ext uri="{FF2B5EF4-FFF2-40B4-BE49-F238E27FC236}">
                  <a16:creationId xmlns:a16="http://schemas.microsoft.com/office/drawing/2014/main" id="{3598066F-A2CE-090B-05DB-0945771AB92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1">
              <a:extLst>
                <a:ext uri="{FF2B5EF4-FFF2-40B4-BE49-F238E27FC236}">
                  <a16:creationId xmlns:a16="http://schemas.microsoft.com/office/drawing/2014/main" id="{BB47AEBC-EC73-471A-948C-CC3C9D1FC55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AE63D540-9E47-A754-01E2-E4E6E39533B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13">
              <a:extLst>
                <a:ext uri="{FF2B5EF4-FFF2-40B4-BE49-F238E27FC236}">
                  <a16:creationId xmlns:a16="http://schemas.microsoft.com/office/drawing/2014/main" id="{52FC46CD-D21D-D4A6-E9E3-1B0F4E2FE16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3753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5314">
          <p15:clr>
            <a:srgbClr val="FBAE40"/>
          </p15:clr>
        </p15:guide>
        <p15:guide id="7" pos="5178">
          <p15:clr>
            <a:srgbClr val="FBAE40"/>
          </p15:clr>
        </p15:guide>
        <p15:guide id="8" pos="504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11221200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54630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lock Sma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180000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19999"/>
            <a:ext cx="918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9180000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EA69D08-A500-36F4-6CFF-EFC5A5E42D29}"/>
              </a:ext>
            </a:extLst>
          </p:cNvPr>
          <p:cNvSpPr/>
          <p:nvPr userDrawn="1"/>
        </p:nvSpPr>
        <p:spPr>
          <a:xfrm>
            <a:off x="9852000" y="0"/>
            <a:ext cx="2340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383AA72-4F75-408C-1FE4-F62F8CDD5A2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chemeClr val="bg1"/>
          </a:solidFill>
        </p:grpSpPr>
        <p:sp>
          <p:nvSpPr>
            <p:cNvPr id="19" name="Freihandform: Form 7">
              <a:extLst>
                <a:ext uri="{FF2B5EF4-FFF2-40B4-BE49-F238E27FC236}">
                  <a16:creationId xmlns:a16="http://schemas.microsoft.com/office/drawing/2014/main" id="{97E84301-3E6B-D406-2FA9-F7D98295B1E6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8">
              <a:extLst>
                <a:ext uri="{FF2B5EF4-FFF2-40B4-BE49-F238E27FC236}">
                  <a16:creationId xmlns:a16="http://schemas.microsoft.com/office/drawing/2014/main" id="{55067C28-F5FC-D320-3049-805C65CD3F68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9">
              <a:extLst>
                <a:ext uri="{FF2B5EF4-FFF2-40B4-BE49-F238E27FC236}">
                  <a16:creationId xmlns:a16="http://schemas.microsoft.com/office/drawing/2014/main" id="{35F5C339-BC04-8BFD-D5ED-94C330763E1D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0">
              <a:extLst>
                <a:ext uri="{FF2B5EF4-FFF2-40B4-BE49-F238E27FC236}">
                  <a16:creationId xmlns:a16="http://schemas.microsoft.com/office/drawing/2014/main" id="{3598066F-A2CE-090B-05DB-0945771AB92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1">
              <a:extLst>
                <a:ext uri="{FF2B5EF4-FFF2-40B4-BE49-F238E27FC236}">
                  <a16:creationId xmlns:a16="http://schemas.microsoft.com/office/drawing/2014/main" id="{BB47AEBC-EC73-471A-948C-CC3C9D1FC552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Freihandform: Form 12">
              <a:extLst>
                <a:ext uri="{FF2B5EF4-FFF2-40B4-BE49-F238E27FC236}">
                  <a16:creationId xmlns:a16="http://schemas.microsoft.com/office/drawing/2014/main" id="{AE63D540-9E47-A754-01E2-E4E6E39533B0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ihandform: Form 13">
              <a:extLst>
                <a:ext uri="{FF2B5EF4-FFF2-40B4-BE49-F238E27FC236}">
                  <a16:creationId xmlns:a16="http://schemas.microsoft.com/office/drawing/2014/main" id="{52FC46CD-D21D-D4A6-E9E3-1B0F4E2FE161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6569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6199">
          <p15:clr>
            <a:srgbClr val="FBAE40"/>
          </p15:clr>
        </p15:guide>
        <p15:guide id="7" pos="608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6C8E5F1-A21E-1E3C-EAD5-7971E9C458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220076" y="0"/>
            <a:ext cx="3971924" cy="6381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7525374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rgbClr val="7192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7524751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7524751" cy="468975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8A9A129-AE07-6F8F-67A1-DF6CC8ACACB4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2DFA1B51-2BD4-30E0-A40A-7DE8784FBBD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E4118464-20D1-B4B7-F2D9-47DCD32BB27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958B0B68-806A-A4BB-B0C5-3C9AA55E14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6F3F1F1C-9018-0BB3-18AE-D874961D7E0E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DFADA72-48BF-754F-85CD-1046EA5BFCF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94786CEF-A85C-E037-DA68-C952C11DB2F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EEB2AA0E-ADAD-F8E5-0D40-B2A9ABF40D8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5979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5178">
          <p15:clr>
            <a:srgbClr val="FBAE40"/>
          </p15:clr>
        </p15:guide>
        <p15:guide id="8" pos="504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6C8E5F1-A21E-1E3C-EAD5-7971E9C458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464" y="0"/>
            <a:ext cx="5951536" cy="6381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5472738" cy="216000"/>
          </a:xfrm>
          <a:prstGeom prst="rect">
            <a:avLst/>
          </a:prstGeom>
        </p:spPr>
        <p:txBody>
          <a:bodyPr anchor="b" anchorCtr="0"/>
          <a:lstStyle>
            <a:lvl1pPr>
              <a:defRPr sz="1400" b="1" i="0" cap="all" baseline="0">
                <a:solidFill>
                  <a:srgbClr val="7192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5472739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FDD3D13-29D7-54E4-6BE9-F18ED751C5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9424" y="1692000"/>
            <a:ext cx="5472113" cy="4500000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60000" indent="-180000">
              <a:buClr>
                <a:schemeClr val="tx1"/>
              </a:buClr>
              <a:defRPr lang="de-DE" sz="12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>
              <a:buClr>
                <a:schemeClr val="tx1"/>
              </a:buClr>
              <a:defRPr>
                <a:latin typeface="Arial" panose="020B0604020202020204" pitchFamily="34" charset="0"/>
              </a:defRPr>
            </a:lvl7pPr>
            <a:lvl8pPr>
              <a:buClr>
                <a:schemeClr val="tx1"/>
              </a:buClr>
              <a:defRPr>
                <a:latin typeface="Arial" panose="020B0604020202020204" pitchFamily="34" charset="0"/>
              </a:defRPr>
            </a:lvl8pPr>
            <a:lvl9pPr>
              <a:buClr>
                <a:schemeClr val="tx1"/>
              </a:buClr>
              <a:defRPr lang="de-DE" sz="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marL="360000" lvl="3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</a:pPr>
            <a:r>
              <a:rPr lang="de-DE"/>
              <a:t>Zweite Aufzählungsebene</a:t>
            </a:r>
          </a:p>
          <a:p>
            <a:pPr marL="180000" lvl="4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marL="360000" lvl="5" indent="-1800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</a:pPr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D4F5022-61B8-1B0D-2D38-B0C4242821D0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84E8A8DB-E4A8-3171-4B04-F18A2388878E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ihandform: Form 8">
              <a:extLst>
                <a:ext uri="{FF2B5EF4-FFF2-40B4-BE49-F238E27FC236}">
                  <a16:creationId xmlns:a16="http://schemas.microsoft.com/office/drawing/2014/main" id="{BFD149DF-712F-D120-93DB-D93E23568D8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2FDD25EA-875F-366C-E169-AF415E8E26AC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52AFE74D-C0CE-18E5-E053-14F400923C8C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CA0E81D-B205-5DD3-BCC0-FCABD5E2DD40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2104F47F-FC8D-DC47-4B4D-94DD06489F07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F813DCDD-CFA0-811E-90AE-70DC26E3E27B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0130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7" pos="3931">
          <p15:clr>
            <a:srgbClr val="FBAE40"/>
          </p15:clr>
        </p15:guide>
        <p15:guide id="8" pos="374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B3B158-9AB8-2721-86CB-D58A82669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E56933-68A4-CF20-140D-8EB369777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515572-9796-FE08-A769-6E53E40AE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02E079-7315-D14F-DCB5-40687079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DF9AC738-DFA5-F30B-C635-8C2AFDC119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B494F94A-AC83-BB6D-AD2F-5F40F108CD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F5F4EA28-452B-B6E3-429E-32C98DABD8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364CAE38-BB4A-9453-CD17-40AEAA25E6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3B9DFA1-4724-732E-27DE-229158FEB2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DFCF6D07-CE43-788C-8C44-9436560659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37764E0-60B6-12AB-077E-542D5DD6CE7C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9DE22CFF-3EF1-CC19-AC91-4FC603A52145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3EDA4479-C644-DC5C-5B8E-19C3F1EC5C7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8">
            <a:extLst>
              <a:ext uri="{FF2B5EF4-FFF2-40B4-BE49-F238E27FC236}">
                <a16:creationId xmlns:a16="http://schemas.microsoft.com/office/drawing/2014/main" id="{2EB2B99A-BD6C-F96C-23AF-9B0378C6D9F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0157AAD9-75DA-4242-F1C8-41E4119A234E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0">
            <a:extLst>
              <a:ext uri="{FF2B5EF4-FFF2-40B4-BE49-F238E27FC236}">
                <a16:creationId xmlns:a16="http://schemas.microsoft.com/office/drawing/2014/main" id="{BC872E09-93BA-788D-087D-E762D3E1215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9">
            <a:extLst>
              <a:ext uri="{FF2B5EF4-FFF2-40B4-BE49-F238E27FC236}">
                <a16:creationId xmlns:a16="http://schemas.microsoft.com/office/drawing/2014/main" id="{2F6CC2BC-3CCE-4181-50C6-B9C60C7BAA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50">
            <a:extLst>
              <a:ext uri="{FF2B5EF4-FFF2-40B4-BE49-F238E27FC236}">
                <a16:creationId xmlns:a16="http://schemas.microsoft.com/office/drawing/2014/main" id="{87A2EBF5-52F5-7475-1392-7E7F9A708DCB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1">
            <a:extLst>
              <a:ext uri="{FF2B5EF4-FFF2-40B4-BE49-F238E27FC236}">
                <a16:creationId xmlns:a16="http://schemas.microsoft.com/office/drawing/2014/main" id="{B0C6C647-2A67-09C7-9F30-FEE524CA2CB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8A0CD18E-434F-D515-3BAE-6E85ABFC041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>
            <a:extLst>
              <a:ext uri="{FF2B5EF4-FFF2-40B4-BE49-F238E27FC236}">
                <a16:creationId xmlns:a16="http://schemas.microsoft.com/office/drawing/2014/main" id="{FBCE3485-EE64-2E14-6AC2-4985402EC48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54">
            <a:extLst>
              <a:ext uri="{FF2B5EF4-FFF2-40B4-BE49-F238E27FC236}">
                <a16:creationId xmlns:a16="http://schemas.microsoft.com/office/drawing/2014/main" id="{E29623AC-8C7F-8E79-5681-55EC218530F1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5">
            <a:extLst>
              <a:ext uri="{FF2B5EF4-FFF2-40B4-BE49-F238E27FC236}">
                <a16:creationId xmlns:a16="http://schemas.microsoft.com/office/drawing/2014/main" id="{66051730-4514-79D7-B845-8194C7889E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56">
            <a:extLst>
              <a:ext uri="{FF2B5EF4-FFF2-40B4-BE49-F238E27FC236}">
                <a16:creationId xmlns:a16="http://schemas.microsoft.com/office/drawing/2014/main" id="{77D19C3F-83AA-9E9C-B465-FEAAD9F11E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57">
            <a:extLst>
              <a:ext uri="{FF2B5EF4-FFF2-40B4-BE49-F238E27FC236}">
                <a16:creationId xmlns:a16="http://schemas.microsoft.com/office/drawing/2014/main" id="{92E3C660-F84B-8981-38C5-1F36D818DC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8">
            <a:extLst>
              <a:ext uri="{FF2B5EF4-FFF2-40B4-BE49-F238E27FC236}">
                <a16:creationId xmlns:a16="http://schemas.microsoft.com/office/drawing/2014/main" id="{D703C675-25FA-49B5-A643-704F293324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59">
            <a:extLst>
              <a:ext uri="{FF2B5EF4-FFF2-40B4-BE49-F238E27FC236}">
                <a16:creationId xmlns:a16="http://schemas.microsoft.com/office/drawing/2014/main" id="{1EF9C332-00EA-D34C-9A3D-26D5D25D6ABD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60">
            <a:extLst>
              <a:ext uri="{FF2B5EF4-FFF2-40B4-BE49-F238E27FC236}">
                <a16:creationId xmlns:a16="http://schemas.microsoft.com/office/drawing/2014/main" id="{061DF69C-E09D-DF03-72DA-3BCA5C6B56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61">
            <a:extLst>
              <a:ext uri="{FF2B5EF4-FFF2-40B4-BE49-F238E27FC236}">
                <a16:creationId xmlns:a16="http://schemas.microsoft.com/office/drawing/2014/main" id="{AD6F0D76-0971-2D62-A8B4-5CA94FF38CE5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62">
            <a:extLst>
              <a:ext uri="{FF2B5EF4-FFF2-40B4-BE49-F238E27FC236}">
                <a16:creationId xmlns:a16="http://schemas.microsoft.com/office/drawing/2014/main" id="{09CCC726-E711-690B-E371-EF876315856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67">
            <a:extLst>
              <a:ext uri="{FF2B5EF4-FFF2-40B4-BE49-F238E27FC236}">
                <a16:creationId xmlns:a16="http://schemas.microsoft.com/office/drawing/2014/main" id="{6C48FE8E-08CE-5458-CFD4-9B0F14B56D4B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68">
            <a:extLst>
              <a:ext uri="{FF2B5EF4-FFF2-40B4-BE49-F238E27FC236}">
                <a16:creationId xmlns:a16="http://schemas.microsoft.com/office/drawing/2014/main" id="{6C3D49E7-1030-B49A-4F21-0B8A1021FE2E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69">
            <a:extLst>
              <a:ext uri="{FF2B5EF4-FFF2-40B4-BE49-F238E27FC236}">
                <a16:creationId xmlns:a16="http://schemas.microsoft.com/office/drawing/2014/main" id="{6AA9EFD4-93A3-F496-8632-5CFFA839E5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70">
            <a:extLst>
              <a:ext uri="{FF2B5EF4-FFF2-40B4-BE49-F238E27FC236}">
                <a16:creationId xmlns:a16="http://schemas.microsoft.com/office/drawing/2014/main" id="{11A2A68A-1FD9-3885-F6EA-06235B2A0BD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71">
            <a:extLst>
              <a:ext uri="{FF2B5EF4-FFF2-40B4-BE49-F238E27FC236}">
                <a16:creationId xmlns:a16="http://schemas.microsoft.com/office/drawing/2014/main" id="{17140381-D796-BC30-B841-2AE580F9CA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72">
            <a:extLst>
              <a:ext uri="{FF2B5EF4-FFF2-40B4-BE49-F238E27FC236}">
                <a16:creationId xmlns:a16="http://schemas.microsoft.com/office/drawing/2014/main" id="{4C4A4A53-A839-E5CF-45A8-213D79F20A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73">
            <a:extLst>
              <a:ext uri="{FF2B5EF4-FFF2-40B4-BE49-F238E27FC236}">
                <a16:creationId xmlns:a16="http://schemas.microsoft.com/office/drawing/2014/main" id="{79FB9D54-D156-657B-9618-FE6B001B44D8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74">
            <a:extLst>
              <a:ext uri="{FF2B5EF4-FFF2-40B4-BE49-F238E27FC236}">
                <a16:creationId xmlns:a16="http://schemas.microsoft.com/office/drawing/2014/main" id="{E9DE55BA-DFF2-7A0F-D40F-5F317347C66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75">
            <a:extLst>
              <a:ext uri="{FF2B5EF4-FFF2-40B4-BE49-F238E27FC236}">
                <a16:creationId xmlns:a16="http://schemas.microsoft.com/office/drawing/2014/main" id="{4480DC20-1AB6-38D0-3547-CFB4E97C64C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76">
            <a:extLst>
              <a:ext uri="{FF2B5EF4-FFF2-40B4-BE49-F238E27FC236}">
                <a16:creationId xmlns:a16="http://schemas.microsoft.com/office/drawing/2014/main" id="{9FA60426-B31B-256A-A738-9DC607571C1B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10">
            <a:extLst>
              <a:ext uri="{FF2B5EF4-FFF2-40B4-BE49-F238E27FC236}">
                <a16:creationId xmlns:a16="http://schemas.microsoft.com/office/drawing/2014/main" id="{9257DE8A-01FA-ADE8-E590-47DEF6446DB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11">
            <a:extLst>
              <a:ext uri="{FF2B5EF4-FFF2-40B4-BE49-F238E27FC236}">
                <a16:creationId xmlns:a16="http://schemas.microsoft.com/office/drawing/2014/main" id="{09F7FFE8-A16B-111C-5B8F-AA0CC95011E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29DFF8F4-1B8F-16CA-D3A0-454A58B8293D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B5B56C8B-8570-2C57-6452-A9804A78AF8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E6EA58E6-895B-599E-6F00-9775504A4D49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53" name="Freihandform: Form 7">
              <a:extLst>
                <a:ext uri="{FF2B5EF4-FFF2-40B4-BE49-F238E27FC236}">
                  <a16:creationId xmlns:a16="http://schemas.microsoft.com/office/drawing/2014/main" id="{0CA37FA9-A25E-A871-3404-B4784965F76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Freihandform: Form 8">
              <a:extLst>
                <a:ext uri="{FF2B5EF4-FFF2-40B4-BE49-F238E27FC236}">
                  <a16:creationId xmlns:a16="http://schemas.microsoft.com/office/drawing/2014/main" id="{722B6612-022E-9B22-E87B-AD0114088F5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Freihandform: Form 9">
              <a:extLst>
                <a:ext uri="{FF2B5EF4-FFF2-40B4-BE49-F238E27FC236}">
                  <a16:creationId xmlns:a16="http://schemas.microsoft.com/office/drawing/2014/main" id="{D17D4103-8ED9-6FF5-5603-16FE50E434A3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ihandform: Form 10">
              <a:extLst>
                <a:ext uri="{FF2B5EF4-FFF2-40B4-BE49-F238E27FC236}">
                  <a16:creationId xmlns:a16="http://schemas.microsoft.com/office/drawing/2014/main" id="{CD758881-FE2A-AD4B-D875-207217EBE1DF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7" name="Freihandform: Form 11">
              <a:extLst>
                <a:ext uri="{FF2B5EF4-FFF2-40B4-BE49-F238E27FC236}">
                  <a16:creationId xmlns:a16="http://schemas.microsoft.com/office/drawing/2014/main" id="{44C9550E-9C08-09B0-B564-5E07284C586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Freihandform: Form 12">
              <a:extLst>
                <a:ext uri="{FF2B5EF4-FFF2-40B4-BE49-F238E27FC236}">
                  <a16:creationId xmlns:a16="http://schemas.microsoft.com/office/drawing/2014/main" id="{3BB5F762-6C31-E6A7-961F-861F09D12A8B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Freihandform: Form 13">
              <a:extLst>
                <a:ext uri="{FF2B5EF4-FFF2-40B4-BE49-F238E27FC236}">
                  <a16:creationId xmlns:a16="http://schemas.microsoft.com/office/drawing/2014/main" id="{0E974EB1-6F5F-A39E-B206-6D8C8A728C69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0" name="Textplatzhalter 8">
            <a:extLst>
              <a:ext uri="{FF2B5EF4-FFF2-40B4-BE49-F238E27FC236}">
                <a16:creationId xmlns:a16="http://schemas.microsoft.com/office/drawing/2014/main" id="{91C2B4B3-21FE-8450-8699-1E54E1D00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5FB2375B-DA7E-D5F7-37E5-D6561C7DF54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2" name="Textplatzhalter 8">
            <a:extLst>
              <a:ext uri="{FF2B5EF4-FFF2-40B4-BE49-F238E27FC236}">
                <a16:creationId xmlns:a16="http://schemas.microsoft.com/office/drawing/2014/main" id="{F1B5C5B6-1264-5B4C-CFA4-8381BF389C3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6EFC3BDD-F651-A43C-C015-C8F97EC66D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E1321996-5141-9087-42AD-F13B42D5B3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73AABE1C-DFB7-5D41-5E5F-034C99F58BE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3606066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rafik 61" descr="Ein Bild, das Kleidung, Person, Gebäude, Mann enthält.&#10;&#10;Automatisch generierte Beschreibung">
            <a:extLst>
              <a:ext uri="{FF2B5EF4-FFF2-40B4-BE49-F238E27FC236}">
                <a16:creationId xmlns:a16="http://schemas.microsoft.com/office/drawing/2014/main" id="{A8F660D0-030D-C59B-7E4E-98C1C0628BA9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6B3B158-9AB8-2721-86CB-D58A82669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CE56933-68A4-CF20-140D-8EB369777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C515572-9796-FE08-A769-6E53E40AE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02E079-7315-D14F-DCB5-40687079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DF9AC738-DFA5-F30B-C635-8C2AFDC119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00000" y="194357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7" name="Textplatzhalter 22">
            <a:extLst>
              <a:ext uri="{FF2B5EF4-FFF2-40B4-BE49-F238E27FC236}">
                <a16:creationId xmlns:a16="http://schemas.microsoft.com/office/drawing/2014/main" id="{B494F94A-AC83-BB6D-AD2F-5F40F108CD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00000" y="2681324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8" name="Textplatzhalter 22">
            <a:extLst>
              <a:ext uri="{FF2B5EF4-FFF2-40B4-BE49-F238E27FC236}">
                <a16:creationId xmlns:a16="http://schemas.microsoft.com/office/drawing/2014/main" id="{F5F4EA28-452B-B6E3-429E-32C98DABD8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00000" y="3419072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364CAE38-BB4A-9453-CD17-40AEAA25E6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800000" y="4156820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</a:t>
            </a:r>
            <a:r>
              <a:rPr lang="en-US" err="1"/>
              <a:t>appropiate</a:t>
            </a:r>
            <a:r>
              <a:rPr lang="en-US"/>
              <a:t> text</a:t>
            </a:r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83B9DFA1-4724-732E-27DE-229158FEB2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00000" y="4894568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DFCF6D07-CE43-788C-8C44-9436560659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000" y="5632316"/>
            <a:ext cx="9727659" cy="3600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rtl="0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edit chapter title with the appropiate text</a:t>
            </a:r>
          </a:p>
        </p:txBody>
      </p:sp>
      <p:cxnSp>
        <p:nvCxnSpPr>
          <p:cNvPr id="12" name="Gerade Verbindung 10">
            <a:extLst>
              <a:ext uri="{FF2B5EF4-FFF2-40B4-BE49-F238E27FC236}">
                <a16:creationId xmlns:a16="http://schemas.microsoft.com/office/drawing/2014/main" id="{037764E0-60B6-12AB-077E-542D5DD6CE7C}"/>
              </a:ext>
            </a:extLst>
          </p:cNvPr>
          <p:cNvCxnSpPr>
            <a:cxnSpLocks/>
          </p:cNvCxnSpPr>
          <p:nvPr userDrawn="1"/>
        </p:nvCxnSpPr>
        <p:spPr>
          <a:xfrm>
            <a:off x="479425" y="185999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1">
            <a:extLst>
              <a:ext uri="{FF2B5EF4-FFF2-40B4-BE49-F238E27FC236}">
                <a16:creationId xmlns:a16="http://schemas.microsoft.com/office/drawing/2014/main" id="{9DE22CFF-3EF1-CC19-AC91-4FC603A52145}"/>
              </a:ext>
            </a:extLst>
          </p:cNvPr>
          <p:cNvCxnSpPr>
            <a:cxnSpLocks/>
          </p:cNvCxnSpPr>
          <p:nvPr userDrawn="1"/>
        </p:nvCxnSpPr>
        <p:spPr>
          <a:xfrm>
            <a:off x="479425" y="200557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3EDA4479-C644-DC5C-5B8E-19C3F1EC5C7D}"/>
              </a:ext>
            </a:extLst>
          </p:cNvPr>
          <p:cNvCxnSpPr>
            <a:cxnSpLocks/>
          </p:cNvCxnSpPr>
          <p:nvPr userDrawn="1"/>
        </p:nvCxnSpPr>
        <p:spPr>
          <a:xfrm>
            <a:off x="479425" y="215115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8">
            <a:extLst>
              <a:ext uri="{FF2B5EF4-FFF2-40B4-BE49-F238E27FC236}">
                <a16:creationId xmlns:a16="http://schemas.microsoft.com/office/drawing/2014/main" id="{2EB2B99A-BD6C-F96C-23AF-9B0378C6D9F2}"/>
              </a:ext>
            </a:extLst>
          </p:cNvPr>
          <p:cNvCxnSpPr>
            <a:cxnSpLocks/>
          </p:cNvCxnSpPr>
          <p:nvPr userDrawn="1"/>
        </p:nvCxnSpPr>
        <p:spPr>
          <a:xfrm>
            <a:off x="479425" y="229674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0157AAD9-75DA-4242-F1C8-41E4119A234E}"/>
              </a:ext>
            </a:extLst>
          </p:cNvPr>
          <p:cNvCxnSpPr>
            <a:cxnSpLocks/>
          </p:cNvCxnSpPr>
          <p:nvPr userDrawn="1"/>
        </p:nvCxnSpPr>
        <p:spPr>
          <a:xfrm>
            <a:off x="479425" y="244232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0">
            <a:extLst>
              <a:ext uri="{FF2B5EF4-FFF2-40B4-BE49-F238E27FC236}">
                <a16:creationId xmlns:a16="http://schemas.microsoft.com/office/drawing/2014/main" id="{BC872E09-93BA-788D-087D-E762D3E1215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58790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49">
            <a:extLst>
              <a:ext uri="{FF2B5EF4-FFF2-40B4-BE49-F238E27FC236}">
                <a16:creationId xmlns:a16="http://schemas.microsoft.com/office/drawing/2014/main" id="{2F6CC2BC-3CCE-4181-50C6-B9C60C7BAA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273349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50">
            <a:extLst>
              <a:ext uri="{FF2B5EF4-FFF2-40B4-BE49-F238E27FC236}">
                <a16:creationId xmlns:a16="http://schemas.microsoft.com/office/drawing/2014/main" id="{87A2EBF5-52F5-7475-1392-7E7F9A708DCB}"/>
              </a:ext>
            </a:extLst>
          </p:cNvPr>
          <p:cNvCxnSpPr>
            <a:cxnSpLocks/>
          </p:cNvCxnSpPr>
          <p:nvPr userDrawn="1"/>
        </p:nvCxnSpPr>
        <p:spPr>
          <a:xfrm>
            <a:off x="479425" y="287907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51">
            <a:extLst>
              <a:ext uri="{FF2B5EF4-FFF2-40B4-BE49-F238E27FC236}">
                <a16:creationId xmlns:a16="http://schemas.microsoft.com/office/drawing/2014/main" id="{B0C6C647-2A67-09C7-9F30-FEE524CA2CB6}"/>
              </a:ext>
            </a:extLst>
          </p:cNvPr>
          <p:cNvCxnSpPr>
            <a:cxnSpLocks/>
          </p:cNvCxnSpPr>
          <p:nvPr userDrawn="1"/>
        </p:nvCxnSpPr>
        <p:spPr>
          <a:xfrm>
            <a:off x="479425" y="302465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8A0CD18E-434F-D515-3BAE-6E85ABFC041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7023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53">
            <a:extLst>
              <a:ext uri="{FF2B5EF4-FFF2-40B4-BE49-F238E27FC236}">
                <a16:creationId xmlns:a16="http://schemas.microsoft.com/office/drawing/2014/main" id="{FBCE3485-EE64-2E14-6AC2-4985402EC482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1582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54">
            <a:extLst>
              <a:ext uri="{FF2B5EF4-FFF2-40B4-BE49-F238E27FC236}">
                <a16:creationId xmlns:a16="http://schemas.microsoft.com/office/drawing/2014/main" id="{E29623AC-8C7F-8E79-5681-55EC218530F1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6140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55">
            <a:extLst>
              <a:ext uri="{FF2B5EF4-FFF2-40B4-BE49-F238E27FC236}">
                <a16:creationId xmlns:a16="http://schemas.microsoft.com/office/drawing/2014/main" id="{66051730-4514-79D7-B845-8194C7889E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0698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56">
            <a:extLst>
              <a:ext uri="{FF2B5EF4-FFF2-40B4-BE49-F238E27FC236}">
                <a16:creationId xmlns:a16="http://schemas.microsoft.com/office/drawing/2014/main" id="{77D19C3F-83AA-9E9C-B465-FEAAD9F11E34}"/>
              </a:ext>
            </a:extLst>
          </p:cNvPr>
          <p:cNvCxnSpPr>
            <a:cxnSpLocks/>
          </p:cNvCxnSpPr>
          <p:nvPr userDrawn="1"/>
        </p:nvCxnSpPr>
        <p:spPr>
          <a:xfrm>
            <a:off x="479425" y="375257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57">
            <a:extLst>
              <a:ext uri="{FF2B5EF4-FFF2-40B4-BE49-F238E27FC236}">
                <a16:creationId xmlns:a16="http://schemas.microsoft.com/office/drawing/2014/main" id="{92E3C660-F84B-8981-38C5-1F36D818DC90}"/>
              </a:ext>
            </a:extLst>
          </p:cNvPr>
          <p:cNvCxnSpPr>
            <a:cxnSpLocks/>
          </p:cNvCxnSpPr>
          <p:nvPr userDrawn="1"/>
        </p:nvCxnSpPr>
        <p:spPr>
          <a:xfrm>
            <a:off x="479425" y="389815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8">
            <a:extLst>
              <a:ext uri="{FF2B5EF4-FFF2-40B4-BE49-F238E27FC236}">
                <a16:creationId xmlns:a16="http://schemas.microsoft.com/office/drawing/2014/main" id="{D703C675-25FA-49B5-A643-704F293324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04373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59">
            <a:extLst>
              <a:ext uri="{FF2B5EF4-FFF2-40B4-BE49-F238E27FC236}">
                <a16:creationId xmlns:a16="http://schemas.microsoft.com/office/drawing/2014/main" id="{1EF9C332-00EA-D34C-9A3D-26D5D25D6ABD}"/>
              </a:ext>
            </a:extLst>
          </p:cNvPr>
          <p:cNvCxnSpPr>
            <a:cxnSpLocks/>
          </p:cNvCxnSpPr>
          <p:nvPr userDrawn="1"/>
        </p:nvCxnSpPr>
        <p:spPr>
          <a:xfrm>
            <a:off x="479425" y="418932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60">
            <a:extLst>
              <a:ext uri="{FF2B5EF4-FFF2-40B4-BE49-F238E27FC236}">
                <a16:creationId xmlns:a16="http://schemas.microsoft.com/office/drawing/2014/main" id="{061DF69C-E09D-DF03-72DA-3BCA5C6B566F}"/>
              </a:ext>
            </a:extLst>
          </p:cNvPr>
          <p:cNvCxnSpPr>
            <a:cxnSpLocks/>
          </p:cNvCxnSpPr>
          <p:nvPr userDrawn="1"/>
        </p:nvCxnSpPr>
        <p:spPr>
          <a:xfrm>
            <a:off x="479425" y="433490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61">
            <a:extLst>
              <a:ext uri="{FF2B5EF4-FFF2-40B4-BE49-F238E27FC236}">
                <a16:creationId xmlns:a16="http://schemas.microsoft.com/office/drawing/2014/main" id="{AD6F0D76-0971-2D62-A8B4-5CA94FF38CE5}"/>
              </a:ext>
            </a:extLst>
          </p:cNvPr>
          <p:cNvCxnSpPr>
            <a:cxnSpLocks/>
          </p:cNvCxnSpPr>
          <p:nvPr userDrawn="1"/>
        </p:nvCxnSpPr>
        <p:spPr>
          <a:xfrm>
            <a:off x="479425" y="448048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62">
            <a:extLst>
              <a:ext uri="{FF2B5EF4-FFF2-40B4-BE49-F238E27FC236}">
                <a16:creationId xmlns:a16="http://schemas.microsoft.com/office/drawing/2014/main" id="{09CCC726-E711-690B-E371-EF8763158562}"/>
              </a:ext>
            </a:extLst>
          </p:cNvPr>
          <p:cNvCxnSpPr>
            <a:cxnSpLocks/>
          </p:cNvCxnSpPr>
          <p:nvPr userDrawn="1"/>
        </p:nvCxnSpPr>
        <p:spPr>
          <a:xfrm>
            <a:off x="479425" y="462606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67">
            <a:extLst>
              <a:ext uri="{FF2B5EF4-FFF2-40B4-BE49-F238E27FC236}">
                <a16:creationId xmlns:a16="http://schemas.microsoft.com/office/drawing/2014/main" id="{6C48FE8E-08CE-5458-CFD4-9B0F14B56D4B}"/>
              </a:ext>
            </a:extLst>
          </p:cNvPr>
          <p:cNvCxnSpPr>
            <a:cxnSpLocks/>
          </p:cNvCxnSpPr>
          <p:nvPr userDrawn="1"/>
        </p:nvCxnSpPr>
        <p:spPr>
          <a:xfrm>
            <a:off x="479425" y="477165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68">
            <a:extLst>
              <a:ext uri="{FF2B5EF4-FFF2-40B4-BE49-F238E27FC236}">
                <a16:creationId xmlns:a16="http://schemas.microsoft.com/office/drawing/2014/main" id="{6C3D49E7-1030-B49A-4F21-0B8A1021FE2E}"/>
              </a:ext>
            </a:extLst>
          </p:cNvPr>
          <p:cNvCxnSpPr>
            <a:cxnSpLocks/>
          </p:cNvCxnSpPr>
          <p:nvPr userDrawn="1"/>
        </p:nvCxnSpPr>
        <p:spPr>
          <a:xfrm>
            <a:off x="479425" y="4917235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69">
            <a:extLst>
              <a:ext uri="{FF2B5EF4-FFF2-40B4-BE49-F238E27FC236}">
                <a16:creationId xmlns:a16="http://schemas.microsoft.com/office/drawing/2014/main" id="{6AA9EFD4-93A3-F496-8632-5CFFA839E5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062818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70">
            <a:extLst>
              <a:ext uri="{FF2B5EF4-FFF2-40B4-BE49-F238E27FC236}">
                <a16:creationId xmlns:a16="http://schemas.microsoft.com/office/drawing/2014/main" id="{11A2A68A-1FD9-3885-F6EA-06235B2A0BD3}"/>
              </a:ext>
            </a:extLst>
          </p:cNvPr>
          <p:cNvCxnSpPr>
            <a:cxnSpLocks/>
          </p:cNvCxnSpPr>
          <p:nvPr userDrawn="1"/>
        </p:nvCxnSpPr>
        <p:spPr>
          <a:xfrm>
            <a:off x="479425" y="5208401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71">
            <a:extLst>
              <a:ext uri="{FF2B5EF4-FFF2-40B4-BE49-F238E27FC236}">
                <a16:creationId xmlns:a16="http://schemas.microsoft.com/office/drawing/2014/main" id="{17140381-D796-BC30-B841-2AE580F9CAEF}"/>
              </a:ext>
            </a:extLst>
          </p:cNvPr>
          <p:cNvCxnSpPr>
            <a:cxnSpLocks/>
          </p:cNvCxnSpPr>
          <p:nvPr userDrawn="1"/>
        </p:nvCxnSpPr>
        <p:spPr>
          <a:xfrm>
            <a:off x="479425" y="5353984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72">
            <a:extLst>
              <a:ext uri="{FF2B5EF4-FFF2-40B4-BE49-F238E27FC236}">
                <a16:creationId xmlns:a16="http://schemas.microsoft.com/office/drawing/2014/main" id="{4C4A4A53-A839-E5CF-45A8-213D79F20A66}"/>
              </a:ext>
            </a:extLst>
          </p:cNvPr>
          <p:cNvCxnSpPr>
            <a:cxnSpLocks/>
          </p:cNvCxnSpPr>
          <p:nvPr userDrawn="1"/>
        </p:nvCxnSpPr>
        <p:spPr>
          <a:xfrm>
            <a:off x="479425" y="54995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73">
            <a:extLst>
              <a:ext uri="{FF2B5EF4-FFF2-40B4-BE49-F238E27FC236}">
                <a16:creationId xmlns:a16="http://schemas.microsoft.com/office/drawing/2014/main" id="{79FB9D54-D156-657B-9618-FE6B001B44D8}"/>
              </a:ext>
            </a:extLst>
          </p:cNvPr>
          <p:cNvCxnSpPr>
            <a:cxnSpLocks/>
          </p:cNvCxnSpPr>
          <p:nvPr userDrawn="1"/>
        </p:nvCxnSpPr>
        <p:spPr>
          <a:xfrm>
            <a:off x="479425" y="5645150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74">
            <a:extLst>
              <a:ext uri="{FF2B5EF4-FFF2-40B4-BE49-F238E27FC236}">
                <a16:creationId xmlns:a16="http://schemas.microsoft.com/office/drawing/2014/main" id="{E9DE55BA-DFF2-7A0F-D40F-5F317347C66D}"/>
              </a:ext>
            </a:extLst>
          </p:cNvPr>
          <p:cNvCxnSpPr>
            <a:cxnSpLocks/>
          </p:cNvCxnSpPr>
          <p:nvPr userDrawn="1"/>
        </p:nvCxnSpPr>
        <p:spPr>
          <a:xfrm>
            <a:off x="479425" y="5790733"/>
            <a:ext cx="612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75">
            <a:extLst>
              <a:ext uri="{FF2B5EF4-FFF2-40B4-BE49-F238E27FC236}">
                <a16:creationId xmlns:a16="http://schemas.microsoft.com/office/drawing/2014/main" id="{4480DC20-1AB6-38D0-3547-CFB4E97C64C1}"/>
              </a:ext>
            </a:extLst>
          </p:cNvPr>
          <p:cNvCxnSpPr>
            <a:cxnSpLocks/>
          </p:cNvCxnSpPr>
          <p:nvPr userDrawn="1"/>
        </p:nvCxnSpPr>
        <p:spPr>
          <a:xfrm>
            <a:off x="479425" y="5936316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76">
            <a:extLst>
              <a:ext uri="{FF2B5EF4-FFF2-40B4-BE49-F238E27FC236}">
                <a16:creationId xmlns:a16="http://schemas.microsoft.com/office/drawing/2014/main" id="{9FA60426-B31B-256A-A738-9DC607571C1B}"/>
              </a:ext>
            </a:extLst>
          </p:cNvPr>
          <p:cNvCxnSpPr>
            <a:cxnSpLocks/>
          </p:cNvCxnSpPr>
          <p:nvPr userDrawn="1"/>
        </p:nvCxnSpPr>
        <p:spPr>
          <a:xfrm>
            <a:off x="479425" y="608189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10">
            <a:extLst>
              <a:ext uri="{FF2B5EF4-FFF2-40B4-BE49-F238E27FC236}">
                <a16:creationId xmlns:a16="http://schemas.microsoft.com/office/drawing/2014/main" id="{9257DE8A-01FA-ADE8-E590-47DEF6446DB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56582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11">
            <a:extLst>
              <a:ext uri="{FF2B5EF4-FFF2-40B4-BE49-F238E27FC236}">
                <a16:creationId xmlns:a16="http://schemas.microsoft.com/office/drawing/2014/main" id="{09F7FFE8-A16B-111C-5B8F-AA0CC95011E7}"/>
              </a:ext>
            </a:extLst>
          </p:cNvPr>
          <p:cNvCxnSpPr>
            <a:cxnSpLocks/>
          </p:cNvCxnSpPr>
          <p:nvPr userDrawn="1"/>
        </p:nvCxnSpPr>
        <p:spPr>
          <a:xfrm>
            <a:off x="478800" y="1714409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75">
            <a:extLst>
              <a:ext uri="{FF2B5EF4-FFF2-40B4-BE49-F238E27FC236}">
                <a16:creationId xmlns:a16="http://schemas.microsoft.com/office/drawing/2014/main" id="{29DFF8F4-1B8F-16CA-D3A0-454A58B8293D}"/>
              </a:ext>
            </a:extLst>
          </p:cNvPr>
          <p:cNvCxnSpPr>
            <a:cxnSpLocks/>
          </p:cNvCxnSpPr>
          <p:nvPr userDrawn="1"/>
        </p:nvCxnSpPr>
        <p:spPr>
          <a:xfrm>
            <a:off x="478800" y="6227482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76">
            <a:extLst>
              <a:ext uri="{FF2B5EF4-FFF2-40B4-BE49-F238E27FC236}">
                <a16:creationId xmlns:a16="http://schemas.microsoft.com/office/drawing/2014/main" id="{B5B56C8B-8570-2C57-6452-A9804A78AF8A}"/>
              </a:ext>
            </a:extLst>
          </p:cNvPr>
          <p:cNvCxnSpPr>
            <a:cxnSpLocks/>
          </p:cNvCxnSpPr>
          <p:nvPr userDrawn="1"/>
        </p:nvCxnSpPr>
        <p:spPr>
          <a:xfrm>
            <a:off x="478800" y="6370067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B48160AE-57A4-97C1-EE07-208F38E6647B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53" name="Freihandform: Form 7">
              <a:extLst>
                <a:ext uri="{FF2B5EF4-FFF2-40B4-BE49-F238E27FC236}">
                  <a16:creationId xmlns:a16="http://schemas.microsoft.com/office/drawing/2014/main" id="{43E5E13A-363E-3E6F-5007-505D9F28E1EC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4" name="Freihandform: Form 8">
              <a:extLst>
                <a:ext uri="{FF2B5EF4-FFF2-40B4-BE49-F238E27FC236}">
                  <a16:creationId xmlns:a16="http://schemas.microsoft.com/office/drawing/2014/main" id="{55AA1E6B-E69A-260F-EBAB-7B93EAC7DF8E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5" name="Freihandform: Form 9">
              <a:extLst>
                <a:ext uri="{FF2B5EF4-FFF2-40B4-BE49-F238E27FC236}">
                  <a16:creationId xmlns:a16="http://schemas.microsoft.com/office/drawing/2014/main" id="{E31F9D80-AD28-AE5C-5735-5D29433AEAA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6" name="Freihandform: Form 10">
              <a:extLst>
                <a:ext uri="{FF2B5EF4-FFF2-40B4-BE49-F238E27FC236}">
                  <a16:creationId xmlns:a16="http://schemas.microsoft.com/office/drawing/2014/main" id="{86D8AC8A-D951-8D58-D624-F52F26B14B8A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7" name="Freihandform: Form 11">
              <a:extLst>
                <a:ext uri="{FF2B5EF4-FFF2-40B4-BE49-F238E27FC236}">
                  <a16:creationId xmlns:a16="http://schemas.microsoft.com/office/drawing/2014/main" id="{1A50CBA4-122A-0963-38F7-A8C5676927C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8" name="Freihandform: Form 12">
              <a:extLst>
                <a:ext uri="{FF2B5EF4-FFF2-40B4-BE49-F238E27FC236}">
                  <a16:creationId xmlns:a16="http://schemas.microsoft.com/office/drawing/2014/main" id="{A91E27EF-1013-BF04-4A2E-0BDD2FDEA8C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9" name="Freihandform: Form 13">
              <a:extLst>
                <a:ext uri="{FF2B5EF4-FFF2-40B4-BE49-F238E27FC236}">
                  <a16:creationId xmlns:a16="http://schemas.microsoft.com/office/drawing/2014/main" id="{4BE8DCF4-8B13-CAB3-18DD-7A2A591CE70E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60" name="Textplatzhalter 8">
            <a:extLst>
              <a:ext uri="{FF2B5EF4-FFF2-40B4-BE49-F238E27FC236}">
                <a16:creationId xmlns:a16="http://schemas.microsoft.com/office/drawing/2014/main" id="{ECCDF84F-C76A-529B-66AE-D918AC03E3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99505" y="1938040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61" name="Textplatzhalter 8">
            <a:extLst>
              <a:ext uri="{FF2B5EF4-FFF2-40B4-BE49-F238E27FC236}">
                <a16:creationId xmlns:a16="http://schemas.microsoft.com/office/drawing/2014/main" id="{8B08BFA5-BC47-3838-F3AE-55AC9D61AE9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199505" y="2675923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63" name="Textplatzhalter 8">
            <a:extLst>
              <a:ext uri="{FF2B5EF4-FFF2-40B4-BE49-F238E27FC236}">
                <a16:creationId xmlns:a16="http://schemas.microsoft.com/office/drawing/2014/main" id="{1433002E-0CB2-9733-F7B4-308FF35CE5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9505" y="5627454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6</a:t>
            </a:r>
          </a:p>
        </p:txBody>
      </p:sp>
      <p:sp>
        <p:nvSpPr>
          <p:cNvPr id="64" name="Textplatzhalter 8">
            <a:extLst>
              <a:ext uri="{FF2B5EF4-FFF2-40B4-BE49-F238E27FC236}">
                <a16:creationId xmlns:a16="http://schemas.microsoft.com/office/drawing/2014/main" id="{4D7B80F6-0A35-7F81-446A-A204EC8390A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99505" y="3413806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65" name="Textplatzhalter 8">
            <a:extLst>
              <a:ext uri="{FF2B5EF4-FFF2-40B4-BE49-F238E27FC236}">
                <a16:creationId xmlns:a16="http://schemas.microsoft.com/office/drawing/2014/main" id="{47E7EF37-F76A-DFC1-165F-86751D44E23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99505" y="4151689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66" name="Textplatzhalter 8">
            <a:extLst>
              <a:ext uri="{FF2B5EF4-FFF2-40B4-BE49-F238E27FC236}">
                <a16:creationId xmlns:a16="http://schemas.microsoft.com/office/drawing/2014/main" id="{D214CCFE-E0BB-9E3C-28FC-4B5E2E3028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99505" y="4889572"/>
            <a:ext cx="468000" cy="36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 cap="all" spc="4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13262166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67888"/>
            <a:ext cx="7512175" cy="110799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DBC0B1D-A62C-445D-5230-B3BC0AC574D7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23D71192-94AA-7236-4A2A-478FA65C5DB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D15642D5-2FDB-AD9B-6882-ECD8DCB72BF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1CAAB3C1-9BBC-3D90-76D3-92977DA5B8E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7C6B0C19-FE89-6629-B5FA-1298C877C2A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55D8B4AF-6C31-3A0F-0D84-26A316ABC36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EF1694D6-3B2A-40D5-E25C-D1091A7ED5A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BDA3701-1375-2069-2757-178E4976A0B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1520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67D5A66-32F4-D8BD-0BBF-7AE539300F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12192000" cy="6857957"/>
          </a:xfrm>
        </p:spPr>
        <p:txBody>
          <a:bodyPr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67888"/>
            <a:ext cx="7512175" cy="110799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DBC0B1D-A62C-445D-5230-B3BC0AC574D7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23D71192-94AA-7236-4A2A-478FA65C5DB8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D15642D5-2FDB-AD9B-6882-ECD8DCB72BF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" name="Freihandform: Form 9">
              <a:extLst>
                <a:ext uri="{FF2B5EF4-FFF2-40B4-BE49-F238E27FC236}">
                  <a16:creationId xmlns:a16="http://schemas.microsoft.com/office/drawing/2014/main" id="{1CAAB3C1-9BBC-3D90-76D3-92977DA5B8E5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7C6B0C19-FE89-6629-B5FA-1298C877C2A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55D8B4AF-6C31-3A0F-0D84-26A316ABC36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EF1694D6-3B2A-40D5-E25C-D1091A7ED5AE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BDA3701-1375-2069-2757-178E4976A0B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9053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Number + Pic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Person, Kleidung, Himmel, Mann enthält.&#10;&#10;Automatisch generierte Beschreibung">
            <a:extLst>
              <a:ext uri="{FF2B5EF4-FFF2-40B4-BE49-F238E27FC236}">
                <a16:creationId xmlns:a16="http://schemas.microsoft.com/office/drawing/2014/main" id="{C01CA1D9-83DF-0949-BC04-F3216F2529D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98"/>
            <a:ext cx="12192000" cy="6862198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2A1CAD-9EC5-FB69-24ED-A219BB80F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7825" y="2806333"/>
            <a:ext cx="7512175" cy="1231106"/>
          </a:xfrm>
        </p:spPr>
        <p:txBody>
          <a:bodyPr anchor="ctr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/>
              <a:t>TRENNERFOLIE MIT BEISPIELTEXT</a:t>
            </a:r>
          </a:p>
        </p:txBody>
      </p:sp>
      <p:cxnSp>
        <p:nvCxnSpPr>
          <p:cNvPr id="13" name="Gerade Verbindung 17">
            <a:extLst>
              <a:ext uri="{FF2B5EF4-FFF2-40B4-BE49-F238E27FC236}">
                <a16:creationId xmlns:a16="http://schemas.microsoft.com/office/drawing/2014/main" id="{5EDB27C5-9044-6F71-B6FA-F87B72D47D1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15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13">
            <a:extLst>
              <a:ext uri="{FF2B5EF4-FFF2-40B4-BE49-F238E27FC236}">
                <a16:creationId xmlns:a16="http://schemas.microsoft.com/office/drawing/2014/main" id="{42F9AC3C-A808-2DE2-0937-8E786DD61C8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372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4">
            <a:extLst>
              <a:ext uri="{FF2B5EF4-FFF2-40B4-BE49-F238E27FC236}">
                <a16:creationId xmlns:a16="http://schemas.microsoft.com/office/drawing/2014/main" id="{172669F7-7DCD-2F16-9BD4-AC9600A7266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480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>
            <a:extLst>
              <a:ext uri="{FF2B5EF4-FFF2-40B4-BE49-F238E27FC236}">
                <a16:creationId xmlns:a16="http://schemas.microsoft.com/office/drawing/2014/main" id="{75D6F706-7E6B-F8B6-BBFE-EC0C716C7D28}"/>
              </a:ext>
            </a:extLst>
          </p:cNvPr>
          <p:cNvCxnSpPr>
            <a:cxnSpLocks/>
          </p:cNvCxnSpPr>
          <p:nvPr userDrawn="1"/>
        </p:nvCxnSpPr>
        <p:spPr>
          <a:xfrm>
            <a:off x="479425" y="3588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2">
            <a:extLst>
              <a:ext uri="{FF2B5EF4-FFF2-40B4-BE49-F238E27FC236}">
                <a16:creationId xmlns:a16="http://schemas.microsoft.com/office/drawing/2014/main" id="{8332C8F3-37AD-6B6E-B15D-031AB9B625B2}"/>
              </a:ext>
            </a:extLst>
          </p:cNvPr>
          <p:cNvCxnSpPr>
            <a:cxnSpLocks/>
          </p:cNvCxnSpPr>
          <p:nvPr userDrawn="1"/>
        </p:nvCxnSpPr>
        <p:spPr>
          <a:xfrm>
            <a:off x="467736" y="-272132"/>
            <a:ext cx="803852" cy="0"/>
          </a:xfrm>
          <a:prstGeom prst="line">
            <a:avLst/>
          </a:prstGeom>
          <a:ln w="25400">
            <a:solidFill>
              <a:srgbClr val="7DA0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">
            <a:extLst>
              <a:ext uri="{FF2B5EF4-FFF2-40B4-BE49-F238E27FC236}">
                <a16:creationId xmlns:a16="http://schemas.microsoft.com/office/drawing/2014/main" id="{A89342F5-300B-24A2-4014-7310F8F3A43B}"/>
              </a:ext>
            </a:extLst>
          </p:cNvPr>
          <p:cNvCxnSpPr>
            <a:cxnSpLocks/>
          </p:cNvCxnSpPr>
          <p:nvPr userDrawn="1"/>
        </p:nvCxnSpPr>
        <p:spPr>
          <a:xfrm>
            <a:off x="479425" y="3264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">
            <a:extLst>
              <a:ext uri="{FF2B5EF4-FFF2-40B4-BE49-F238E27FC236}">
                <a16:creationId xmlns:a16="http://schemas.microsoft.com/office/drawing/2014/main" id="{090E75B2-941E-25A2-2D4B-3BF4B7FE6D93}"/>
              </a:ext>
            </a:extLst>
          </p:cNvPr>
          <p:cNvCxnSpPr>
            <a:cxnSpLocks/>
          </p:cNvCxnSpPr>
          <p:nvPr userDrawn="1"/>
        </p:nvCxnSpPr>
        <p:spPr>
          <a:xfrm>
            <a:off x="479425" y="3696868"/>
            <a:ext cx="54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4A78C47-58CB-B7D7-1D29-4E6D81846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03973" y="2529000"/>
            <a:ext cx="2520000" cy="1800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1000" cap="all" spc="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F20C85-2441-1FD1-83FE-FB1FBFB066D2}"/>
              </a:ext>
            </a:extLst>
          </p:cNvPr>
          <p:cNvGrpSpPr/>
          <p:nvPr userDrawn="1"/>
        </p:nvGrpSpPr>
        <p:grpSpPr>
          <a:xfrm>
            <a:off x="10240056" y="367378"/>
            <a:ext cx="1472671" cy="212964"/>
            <a:chOff x="10240056" y="330434"/>
            <a:chExt cx="1472671" cy="212964"/>
          </a:xfrm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81DC2E73-A28D-0E2B-F203-2CB62182DFF1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id="{733E030C-E54F-784D-FFA0-33A2DD85B4F4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ADF0EEE4-1FC2-78EE-E8F8-F47CEE01EE58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A50A77EC-E3FF-61E6-6A7A-1BBE25E1A358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id="{BCE7890E-1454-7834-CD7C-5BE5B02D8E7F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2">
              <a:extLst>
                <a:ext uri="{FF2B5EF4-FFF2-40B4-BE49-F238E27FC236}">
                  <a16:creationId xmlns:a16="http://schemas.microsoft.com/office/drawing/2014/main" id="{D2144563-7F9B-CE7E-B54A-4EC94854CCA3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2" name="Freihandform: Form 13">
              <a:extLst>
                <a:ext uri="{FF2B5EF4-FFF2-40B4-BE49-F238E27FC236}">
                  <a16:creationId xmlns:a16="http://schemas.microsoft.com/office/drawing/2014/main" id="{90BE8E15-3CDC-9CFF-764E-0083B4F7352D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1703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pos="801">
          <p15:clr>
            <a:srgbClr val="FBAE40"/>
          </p15:clr>
        </p15:guide>
        <p15:guide id="7" pos="642">
          <p15:clr>
            <a:srgbClr val="FBAE40"/>
          </p15:clr>
        </p15:guide>
        <p15:guide id="8" pos="2479">
          <p15:clr>
            <a:srgbClr val="FBAE40"/>
          </p15:clr>
        </p15:guide>
        <p15:guide id="9" pos="2638">
          <p15:clr>
            <a:srgbClr val="FBAE40"/>
          </p15:clr>
        </p15:guide>
        <p15:guide id="10" pos="8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  <a:solidFill>
            <a:schemeClr val="tx1"/>
          </a:solidFill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9293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9C6C782-A789-D8E9-6D69-44A906A6213F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4" name="Freihandform: Form 7">
              <a:extLst>
                <a:ext uri="{FF2B5EF4-FFF2-40B4-BE49-F238E27FC236}">
                  <a16:creationId xmlns:a16="http://schemas.microsoft.com/office/drawing/2014/main" id="{BBFB1D9B-7492-40E9-BF7A-221E76D7333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" name="Freihandform: Form 8">
              <a:extLst>
                <a:ext uri="{FF2B5EF4-FFF2-40B4-BE49-F238E27FC236}">
                  <a16:creationId xmlns:a16="http://schemas.microsoft.com/office/drawing/2014/main" id="{8305328E-4AEB-9624-1513-0C8BBC651101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" name="Freihandform: Form 9">
              <a:extLst>
                <a:ext uri="{FF2B5EF4-FFF2-40B4-BE49-F238E27FC236}">
                  <a16:creationId xmlns:a16="http://schemas.microsoft.com/office/drawing/2014/main" id="{7F9506D9-62BD-4CD6-7AB2-E61D75868D7A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9" name="Freihandform: Form 10">
              <a:extLst>
                <a:ext uri="{FF2B5EF4-FFF2-40B4-BE49-F238E27FC236}">
                  <a16:creationId xmlns:a16="http://schemas.microsoft.com/office/drawing/2014/main" id="{8AB0F1D4-2752-5FAD-A70F-C057D935D4ED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1" name="Freihandform: Form 11">
              <a:extLst>
                <a:ext uri="{FF2B5EF4-FFF2-40B4-BE49-F238E27FC236}">
                  <a16:creationId xmlns:a16="http://schemas.microsoft.com/office/drawing/2014/main" id="{CE7EDFCF-C2E2-491C-4CE5-05992B7F319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2" name="Freihandform: Form 12">
              <a:extLst>
                <a:ext uri="{FF2B5EF4-FFF2-40B4-BE49-F238E27FC236}">
                  <a16:creationId xmlns:a16="http://schemas.microsoft.com/office/drawing/2014/main" id="{CFD04483-162A-7508-11CA-7A6CCAA9E02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3" name="Freihandform: Form 13">
              <a:extLst>
                <a:ext uri="{FF2B5EF4-FFF2-40B4-BE49-F238E27FC236}">
                  <a16:creationId xmlns:a16="http://schemas.microsoft.com/office/drawing/2014/main" id="{D60B856B-A09A-416A-42A7-54602DEBDE12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604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00" y="720000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549604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03952" y="1692000"/>
            <a:ext cx="549604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3C8C1C-2CC6-6DEE-EF9E-7F5C5BF31FD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F083DEB7-F224-116E-0238-AEF1309B38F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68A53D3E-9E01-3468-B213-96080B320B1F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DD6E4A1B-0662-1D07-6A65-8F0E2714377F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DC2CB2CB-CE02-0F83-42B1-FD861F688925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B1097272-963D-F850-DA73-0861BE345BA8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046D208F-D9FD-2427-BA4F-97350D7EA8B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9ABA535F-AD05-A922-B937-10974F80A017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1454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941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er Blac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CF641FC-00DF-63CD-0CAF-C683FA561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8383" y="3168938"/>
            <a:ext cx="7975234" cy="520124"/>
          </a:xfrm>
          <a:prstGeom prst="rect">
            <a:avLst/>
          </a:prstGeom>
          <a:noFill/>
          <a:ln w="19050">
            <a:solidFill>
              <a:srgbClr val="FFFFFF"/>
            </a:solidFill>
          </a:ln>
        </p:spPr>
        <p:txBody>
          <a:bodyPr vert="horz" wrap="none" lIns="360000" tIns="72000" rIns="360000" bIns="72000" rtlCol="0" anchor="ctr" anchorCtr="0">
            <a:spAutoFit/>
          </a:bodyPr>
          <a:lstStyle>
            <a:lvl1pPr algn="ctr">
              <a:defRPr kumimoji="0" lang="de-DE" sz="2400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ctr" fontAlgn="auto">
              <a:spcBef>
                <a:spcPts val="400"/>
              </a:spcBef>
              <a:spcAft>
                <a:spcPts val="400"/>
              </a:spcAft>
              <a:buClrTx/>
              <a:buSzTx/>
              <a:tabLst/>
            </a:pPr>
            <a:r>
              <a:rPr lang="de-DE" err="1"/>
              <a:t>Kapiteltrenner</a:t>
            </a:r>
            <a:r>
              <a:rPr lang="de-DE"/>
              <a:t> mit Aussage </a:t>
            </a:r>
            <a:r>
              <a:rPr lang="de-DE" err="1"/>
              <a:t>Lorem</a:t>
            </a:r>
            <a:r>
              <a:rPr lang="de-DE"/>
              <a:t> Ips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8B1A356-E9B8-080F-6029-315692F784D5}"/>
              </a:ext>
            </a:extLst>
          </p:cNvPr>
          <p:cNvGrpSpPr/>
          <p:nvPr userDrawn="1"/>
        </p:nvGrpSpPr>
        <p:grpSpPr>
          <a:xfrm>
            <a:off x="5359664" y="6148418"/>
            <a:ext cx="1472671" cy="212964"/>
            <a:chOff x="10240056" y="330434"/>
            <a:chExt cx="1472671" cy="212964"/>
          </a:xfrm>
        </p:grpSpPr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id="{3CA5EF84-6E9B-9D4A-D86C-4F73D1DC9B9A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id="{B4C994DF-DE78-A16B-9CC2-A6D4609498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id="{9B4C5C72-FDE5-D3D2-DCAE-9AD3A5E4F860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id="{10C5037E-2014-509E-BDE2-2F721CFA20A0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id="{119DF87C-616A-9F2C-BD8D-507B7D94969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ihandform: Form 12">
              <a:extLst>
                <a:ext uri="{FF2B5EF4-FFF2-40B4-BE49-F238E27FC236}">
                  <a16:creationId xmlns:a16="http://schemas.microsoft.com/office/drawing/2014/main" id="{266F048B-8AAB-1767-7149-FF80E3EACE1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1" name="Freihandform: Form 13">
              <a:extLst>
                <a:ext uri="{FF2B5EF4-FFF2-40B4-BE49-F238E27FC236}">
                  <a16:creationId xmlns:a16="http://schemas.microsoft.com/office/drawing/2014/main" id="{A9B20DEA-5109-93D8-168F-71A778F896CC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solidFill>
              <a:sysClr val="window" lastClr="FFFFFF"/>
            </a:solidFill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2894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">
    <p:bg>
      <p:bgPr>
        <a:solidFill>
          <a:srgbClr val="FF4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TTENTION…">
            <a:extLst>
              <a:ext uri="{FF2B5EF4-FFF2-40B4-BE49-F238E27FC236}">
                <a16:creationId xmlns:a16="http://schemas.microsoft.com/office/drawing/2014/main" id="{C32A0A91-C761-BAF3-B496-78F4F984A827}"/>
              </a:ext>
            </a:extLst>
          </p:cNvPr>
          <p:cNvSpPr/>
          <p:nvPr userDrawn="1"/>
        </p:nvSpPr>
        <p:spPr>
          <a:xfrm>
            <a:off x="217068" y="184150"/>
            <a:ext cx="11757864" cy="64897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7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TTENTION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— This is not a template —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spc="0">
                <a:solidFill>
                  <a:srgbClr val="FF2952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kumimoji="0" sz="4000" b="1" i="0" u="none" strike="noStrike" kern="0" cap="none" spc="0" normalizeH="0" baseline="0" noProof="0">
              <a:ln>
                <a:noFill/>
              </a:ln>
              <a:solidFill>
                <a:srgbClr val="FF2952"/>
              </a:solidFill>
              <a:effectLst/>
              <a:uLnTx/>
              <a:uFillTx/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All following pages were created by </a:t>
            </a:r>
            <a:b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</a:br>
            <a:r>
              <a:rPr kumimoji="0" sz="2800" b="1" i="0" u="none" strike="noStrike" kern="0" cap="none" spc="19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old or other presentations. </a:t>
            </a: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192">
                <a:solidFill>
                  <a:srgbClr val="FFFFFF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endParaRPr kumimoji="0" sz="2800" b="1" i="0" u="none" strike="noStrike" kern="0" cap="none" spc="19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Graphik Bold"/>
              <a:cs typeface="Arial" panose="020B0604020202020204" pitchFamily="34" charset="0"/>
              <a:sym typeface="Graphik Bold"/>
            </a:endParaRPr>
          </a:p>
          <a:p>
            <a:pPr marL="0" marR="0" lvl="0" indent="0" algn="ctr" defTabSz="54768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0">
                <a:solidFill>
                  <a:srgbClr val="000000"/>
                </a:solidFill>
                <a:latin typeface="Graphik Bold"/>
                <a:ea typeface="Graphik Bold"/>
                <a:cs typeface="Graphik Bold"/>
                <a:sym typeface="Graphik Bold"/>
              </a:defRPr>
            </a:pPr>
            <a:r>
              <a:rPr kumimoji="0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Graphik Bold"/>
                <a:cs typeface="Arial" panose="020B0604020202020204" pitchFamily="34" charset="0"/>
                <a:sym typeface="Graphik Bold"/>
              </a:rPr>
              <a:t>Please delete or replace!</a:t>
            </a:r>
          </a:p>
        </p:txBody>
      </p:sp>
    </p:spTree>
    <p:extLst>
      <p:ext uri="{BB962C8B-B14F-4D97-AF65-F5344CB8AC3E}">
        <p14:creationId xmlns:p14="http://schemas.microsoft.com/office/powerpoint/2010/main" val="3096451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Pager_Kundenanony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12510" y="6602770"/>
            <a:ext cx="65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Vorname Nachname</a:t>
            </a:r>
          </a:p>
        </p:txBody>
      </p:sp>
      <p:sp>
        <p:nvSpPr>
          <p:cNvPr id="2" name="Fußzeilenplatzhalter 6">
            <a:extLst>
              <a:ext uri="{FF2B5EF4-FFF2-40B4-BE49-F238E27FC236}">
                <a16:creationId xmlns:a16="http://schemas.microsoft.com/office/drawing/2014/main" id="{90A3DFB4-E3B3-A9B3-D7D4-06CBDC109F5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623600" y="6555600"/>
            <a:ext cx="89640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4F59AE48-695A-DC12-9534-F69546F19DC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8800" y="6555600"/>
            <a:ext cx="662400" cy="1224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3960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C8E0433-F1B2-45B9-B982-C12250ECA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0144F55D-B2AB-4147-864A-90D8928A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69B754B-1BBB-489A-9DFA-0B5BC1ADF7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497403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Pa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 noChangeAspect="1"/>
          </p:cNvSpPr>
          <p:nvPr>
            <p:ph type="pic" sz="quarter" idx="16"/>
          </p:nvPr>
        </p:nvSpPr>
        <p:spPr>
          <a:xfrm>
            <a:off x="479425" y="1776413"/>
            <a:ext cx="1682750" cy="2057400"/>
          </a:xfrm>
        </p:spPr>
        <p:txBody>
          <a:bodyPr/>
          <a:lstStyle/>
          <a:p>
            <a:endParaRPr lang="de-DE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6670269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Pager_Ergänzungs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3712EDA-C950-4774-86F3-2E0D9426D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2709764-A7CF-4295-A6F3-483CF39D9D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B13A4255-EEA6-4636-81FA-535E3614DAF8}"/>
              </a:ext>
            </a:extLst>
          </p:cNvPr>
          <p:cNvCxnSpPr/>
          <p:nvPr userDrawn="1"/>
        </p:nvCxnSpPr>
        <p:spPr>
          <a:xfrm>
            <a:off x="6095999" y="1775816"/>
            <a:ext cx="0" cy="450799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25477031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5902" y="1775816"/>
            <a:ext cx="5376672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302F7CF9-3808-4FAC-A2AD-857FB49C2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82849BF-9627-4B9D-B45F-DF9EA00C6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E71D0D9E-3DC9-4E2B-9FFE-4B2173ADA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5579168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6BE4A926-AC5D-49C3-9830-7F085AE623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1498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Content Placeholder 24">
            <a:extLst>
              <a:ext uri="{FF2B5EF4-FFF2-40B4-BE49-F238E27FC236}">
                <a16:creationId xmlns:a16="http://schemas.microsoft.com/office/drawing/2014/main" id="{9465C315-DE63-4BE4-B773-D3D21AE0B92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83574" y="1775816"/>
            <a:ext cx="3429000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79976EBA-0A92-4606-99D0-F0AC6AA96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1233CE2D-A1B7-4CB1-A9D0-F8338F5B1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C018ABCD-83A3-4AF2-B239-30DE9D535E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19412515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Content Placeholder 24">
            <a:extLst>
              <a:ext uri="{FF2B5EF4-FFF2-40B4-BE49-F238E27FC236}">
                <a16:creationId xmlns:a16="http://schemas.microsoft.com/office/drawing/2014/main" id="{771179E9-2FFE-4B62-BED1-283D5D0E3D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79424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0DE5EC1E-5F7C-4A11-AF53-5D6E651261C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5902" y="1775816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A779FED6-9D90-48D0-81EE-BE1C812B2B2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5902" y="4226408"/>
            <a:ext cx="5376672" cy="2057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2F64DA2F-BCE5-4C99-B2FC-71E06333BF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C828139E-1907-4C63-AA91-1348A02A0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06AA966B-4C9B-400D-8EAA-147EAC9550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4187727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360107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58787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41389E7-C206-CC53-58F7-E0B2474A546D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1" name="Freihandform: Form 7">
              <a:extLst>
                <a:ext uri="{FF2B5EF4-FFF2-40B4-BE49-F238E27FC236}">
                  <a16:creationId xmlns:a16="http://schemas.microsoft.com/office/drawing/2014/main" id="{3B66316F-D7AE-5C80-6961-137C42F7982B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ihandform: Form 8">
              <a:extLst>
                <a:ext uri="{FF2B5EF4-FFF2-40B4-BE49-F238E27FC236}">
                  <a16:creationId xmlns:a16="http://schemas.microsoft.com/office/drawing/2014/main" id="{7838D151-34BC-3A48-DCE5-B984C13E69D5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6E2CFB3C-F74C-53F7-BF06-83186102FAE4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320DF243-5CD0-734A-F00C-DFA2CBB127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1">
              <a:extLst>
                <a:ext uri="{FF2B5EF4-FFF2-40B4-BE49-F238E27FC236}">
                  <a16:creationId xmlns:a16="http://schemas.microsoft.com/office/drawing/2014/main" id="{A4E53DCD-023B-D0C3-27E2-64528B368DF9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2">
              <a:extLst>
                <a:ext uri="{FF2B5EF4-FFF2-40B4-BE49-F238E27FC236}">
                  <a16:creationId xmlns:a16="http://schemas.microsoft.com/office/drawing/2014/main" id="{3968BC02-C322-420B-C35B-D88E99F7FA16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3">
              <a:extLst>
                <a:ext uri="{FF2B5EF4-FFF2-40B4-BE49-F238E27FC236}">
                  <a16:creationId xmlns:a16="http://schemas.microsoft.com/office/drawing/2014/main" id="{8BFB3F2C-485F-6890-A4BD-5556CB1C9ECF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1456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9424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15225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475450F1-1435-4FD8-ADA9-BDD59E6E9C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A2B98CAE-6616-45BA-89B1-499348B17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E69364D-5D00-4D56-AB4B-CEB6EE2795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19745554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alie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FD5C9B0-1B07-4EBC-906A-D849907DE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FD5C9B0-1B07-4EBC-906A-D849907DEDC2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1F9098E-7D0E-4766-9BC5-644ACA3F1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E8994-30E7-42C9-8B97-D389F53719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5481" y="6602770"/>
            <a:ext cx="157094" cy="153888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0CBA42-791E-4851-9FB4-39A223136DC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B8EC43E-B232-4253-AFDF-4EF8A3B5B7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40366"/>
            <a:ext cx="950976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Kapitelüberschrift eingeben</a:t>
            </a:r>
          </a:p>
        </p:txBody>
      </p:sp>
      <p:sp>
        <p:nvSpPr>
          <p:cNvPr id="6" name="Rechteck 10">
            <a:extLst>
              <a:ext uri="{FF2B5EF4-FFF2-40B4-BE49-F238E27FC236}">
                <a16:creationId xmlns:a16="http://schemas.microsoft.com/office/drawing/2014/main" id="{0793E5D5-7A0C-44D1-BCF2-47025FABAC1B}"/>
              </a:ext>
            </a:extLst>
          </p:cNvPr>
          <p:cNvSpPr/>
          <p:nvPr/>
        </p:nvSpPr>
        <p:spPr>
          <a:xfrm>
            <a:off x="479424" y="641066"/>
            <a:ext cx="684000" cy="3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37A2152B-E3B7-40B3-890F-10D4484D68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9550" y="1775816"/>
            <a:ext cx="8193024" cy="450799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24">
            <a:extLst>
              <a:ext uri="{FF2B5EF4-FFF2-40B4-BE49-F238E27FC236}">
                <a16:creationId xmlns:a16="http://schemas.microsoft.com/office/drawing/2014/main" id="{CDE420A3-EB03-49EA-92D1-AFB5D0685BA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775816"/>
            <a:ext cx="2560320" cy="4507992"/>
          </a:xfrm>
          <a:solidFill>
            <a:schemeClr val="accent2"/>
          </a:solidFill>
        </p:spPr>
        <p:txBody>
          <a:bodyPr lIns="91440" tIns="91440" rIns="91440" bIns="9144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Fußzeilenplatzhalter 2">
            <a:extLst>
              <a:ext uri="{FF2B5EF4-FFF2-40B4-BE49-F238E27FC236}">
                <a16:creationId xmlns:a16="http://schemas.microsoft.com/office/drawing/2014/main" id="{EB9185CA-DE49-4CC0-A3E2-8B0BBF76B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479423" y="6602770"/>
            <a:ext cx="724679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1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2638C495-AEA3-4F09-8D22-63F2D3CBE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89413"/>
            <a:ext cx="11233150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9031D0D-215B-45C0-92C0-EA9A0051B7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79493" y="6602770"/>
            <a:ext cx="1252728" cy="15388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</a:p>
        </p:txBody>
      </p:sp>
    </p:spTree>
    <p:extLst>
      <p:ext uri="{BB962C8B-B14F-4D97-AF65-F5344CB8AC3E}">
        <p14:creationId xmlns:p14="http://schemas.microsoft.com/office/powerpoint/2010/main" val="24488499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0" y="1692000"/>
            <a:ext cx="11221200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19E478D-967E-C41A-F9B9-AA54FF94C200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0" name="Freihandform: Form 7">
              <a:extLst>
                <a:ext uri="{FF2B5EF4-FFF2-40B4-BE49-F238E27FC236}">
                  <a16:creationId xmlns:a16="http://schemas.microsoft.com/office/drawing/2014/main" id="{3B5E64EF-4856-48DB-C089-19783BF88BD4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ihandform: Form 8">
              <a:extLst>
                <a:ext uri="{FF2B5EF4-FFF2-40B4-BE49-F238E27FC236}">
                  <a16:creationId xmlns:a16="http://schemas.microsoft.com/office/drawing/2014/main" id="{E4C3C544-9CB1-DDAA-40F6-D602D0270BD0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F1901E2B-CC59-BA9B-D1C9-8B578A9547AE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055619-D590-3996-EEB3-E3B0AD77EFE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ihandform: Form 11">
              <a:extLst>
                <a:ext uri="{FF2B5EF4-FFF2-40B4-BE49-F238E27FC236}">
                  <a16:creationId xmlns:a16="http://schemas.microsoft.com/office/drawing/2014/main" id="{FB4A13ED-E5C8-8415-0939-2CFF1623C50E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ihandform: Form 12">
              <a:extLst>
                <a:ext uri="{FF2B5EF4-FFF2-40B4-BE49-F238E27FC236}">
                  <a16:creationId xmlns:a16="http://schemas.microsoft.com/office/drawing/2014/main" id="{349DB247-DA0B-1D11-467B-580887DFD7D8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ihandform: Form 13">
              <a:extLst>
                <a:ext uri="{FF2B5EF4-FFF2-40B4-BE49-F238E27FC236}">
                  <a16:creationId xmlns:a16="http://schemas.microsoft.com/office/drawing/2014/main" id="{08C56815-74A5-51E7-0FF5-A4F27CC0A4D5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90272DA-58CE-021B-E5FA-70B409E019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8"/>
            <a:ext cx="11233927" cy="3077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1-2 zeilige Kernaussage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82774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799" y="1692000"/>
            <a:ext cx="2700964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012237" y="1692000"/>
            <a:ext cx="2687761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24225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66813" y="1692000"/>
            <a:ext cx="2700962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7228E40-D794-D694-384B-F6E414E46183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2" name="Freihandform: Form 7">
              <a:extLst>
                <a:ext uri="{FF2B5EF4-FFF2-40B4-BE49-F238E27FC236}">
                  <a16:creationId xmlns:a16="http://schemas.microsoft.com/office/drawing/2014/main" id="{4F9AD7A3-6B92-B962-66D4-56529CEB4237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ihandform: Form 8">
              <a:extLst>
                <a:ext uri="{FF2B5EF4-FFF2-40B4-BE49-F238E27FC236}">
                  <a16:creationId xmlns:a16="http://schemas.microsoft.com/office/drawing/2014/main" id="{B6C2D284-D6E3-C393-3BCD-5573759A49BC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9">
              <a:extLst>
                <a:ext uri="{FF2B5EF4-FFF2-40B4-BE49-F238E27FC236}">
                  <a16:creationId xmlns:a16="http://schemas.microsoft.com/office/drawing/2014/main" id="{5D33A480-49E8-2C44-10D1-7C3CFE1447B7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10">
              <a:extLst>
                <a:ext uri="{FF2B5EF4-FFF2-40B4-BE49-F238E27FC236}">
                  <a16:creationId xmlns:a16="http://schemas.microsoft.com/office/drawing/2014/main" id="{D3027B3C-05C3-3966-E0B0-684DD5036956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1">
              <a:extLst>
                <a:ext uri="{FF2B5EF4-FFF2-40B4-BE49-F238E27FC236}">
                  <a16:creationId xmlns:a16="http://schemas.microsoft.com/office/drawing/2014/main" id="{28241F37-E0B6-1A46-0543-9AD2EFA57204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2">
              <a:extLst>
                <a:ext uri="{FF2B5EF4-FFF2-40B4-BE49-F238E27FC236}">
                  <a16:creationId xmlns:a16="http://schemas.microsoft.com/office/drawing/2014/main" id="{51127DB7-B1B7-1561-9E3A-0B13F8B46C39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3">
              <a:extLst>
                <a:ext uri="{FF2B5EF4-FFF2-40B4-BE49-F238E27FC236}">
                  <a16:creationId xmlns:a16="http://schemas.microsoft.com/office/drawing/2014/main" id="{40FF7EBE-37E0-A6B6-7D55-4C92EB629943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6404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86">
          <p15:clr>
            <a:srgbClr val="FBAE40"/>
          </p15:clr>
        </p15:guide>
        <p15:guide id="2" pos="2003">
          <p15:clr>
            <a:srgbClr val="FBAE40"/>
          </p15:clr>
        </p15:guide>
        <p15:guide id="3" pos="2094">
          <p15:clr>
            <a:srgbClr val="FBAE40"/>
          </p15:clr>
        </p15:guide>
        <p15:guide id="4" pos="5677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1999"/>
            <a:ext cx="2124698" cy="451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86800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6500" y="1692000"/>
            <a:ext cx="2158999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6454B90-C47C-343C-EBD2-A3CDB7E664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332539" y="1692000"/>
            <a:ext cx="2111498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201F4E4-054B-6F4E-30C8-650F5084718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747962" y="1692000"/>
            <a:ext cx="2124075" cy="45267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B4EFDC3-B9F7-E62A-A537-0C40C94C5656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3" name="Freihandform: Form 7">
              <a:extLst>
                <a:ext uri="{FF2B5EF4-FFF2-40B4-BE49-F238E27FC236}">
                  <a16:creationId xmlns:a16="http://schemas.microsoft.com/office/drawing/2014/main" id="{FCEB906B-A7D0-1E04-8749-83E97118CA9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ihandform: Form 8">
              <a:extLst>
                <a:ext uri="{FF2B5EF4-FFF2-40B4-BE49-F238E27FC236}">
                  <a16:creationId xmlns:a16="http://schemas.microsoft.com/office/drawing/2014/main" id="{91095A8B-BE50-720F-38CE-E4B69E9CFE36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id="{C882C585-A167-5A5E-466F-69934B945849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id="{B5F34BE9-878F-53C2-C0A5-2440A0268969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id="{96D671C3-7856-2EE9-F350-AC02E1532A0D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12">
              <a:extLst>
                <a:ext uri="{FF2B5EF4-FFF2-40B4-BE49-F238E27FC236}">
                  <a16:creationId xmlns:a16="http://schemas.microsoft.com/office/drawing/2014/main" id="{FEE10419-05AF-A2EA-5ABC-82BB32B1BB22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3">
              <a:extLst>
                <a:ext uri="{FF2B5EF4-FFF2-40B4-BE49-F238E27FC236}">
                  <a16:creationId xmlns:a16="http://schemas.microsoft.com/office/drawing/2014/main" id="{AA8D1F5E-F0A0-E36C-9C04-FF6293C0F7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2351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040">
          <p15:clr>
            <a:srgbClr val="FBAE40"/>
          </p15:clr>
        </p15:guide>
        <p15:guide id="2" pos="1640">
          <p15:clr>
            <a:srgbClr val="FBAE40"/>
          </p15:clr>
        </p15:guide>
        <p15:guide id="3" pos="1731">
          <p15:clr>
            <a:srgbClr val="FBAE40"/>
          </p15:clr>
        </p15:guide>
        <p15:guide id="4" pos="5949">
          <p15:clr>
            <a:srgbClr val="FBAE40"/>
          </p15:clr>
        </p15:guide>
        <p15:guide id="5" pos="3160">
          <p15:clr>
            <a:srgbClr val="FBAE40"/>
          </p15:clr>
        </p15:guide>
        <p15:guide id="6" pos="3069">
          <p15:clr>
            <a:srgbClr val="FBAE40"/>
          </p15:clr>
        </p15:guide>
        <p15:guide id="7" pos="4520">
          <p15:clr>
            <a:srgbClr val="FBAE40"/>
          </p15:clr>
        </p15:guide>
        <p15:guide id="8" pos="46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40E9F1B-B387-DA38-62A6-B2423B8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800" y="396000"/>
            <a:ext cx="9511200" cy="216000"/>
          </a:xfrm>
          <a:prstGeom prst="rect">
            <a:avLst/>
          </a:prstGeom>
          <a:solidFill>
            <a:schemeClr val="tx1"/>
          </a:solidFill>
        </p:spPr>
        <p:txBody>
          <a:bodyPr anchor="b" anchorCtr="0"/>
          <a:lstStyle>
            <a:lvl1pPr>
              <a:defRPr sz="1400" b="1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FOLIENTIT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3EA6945-62CE-8B8B-5CE8-1BC62F3483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26D5F3-09AA-6FDF-E475-88C87D3A95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B9019E-98A3-952D-98FB-6EC15B672F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B9C6B567-A3DD-383B-5D53-39816E6887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799" y="719999"/>
            <a:ext cx="11233775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1-2 zeilige Kernaussag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3789045-3ADB-CDC8-4A3B-544D1AB8D61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8801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F95342A-689C-6B6E-B12D-BBE5C6335C3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12125" y="169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5039FE-40B7-8C29-3FE4-452AC4CD39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95149" y="1692000"/>
            <a:ext cx="3601076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D068EBBA-B8C8-BACC-A874-07A95FA384F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120063" y="4032000"/>
            <a:ext cx="360000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91EAF0C-C8EF-FF54-89B6-A61F05488EF2}"/>
              </a:ext>
            </a:extLst>
          </p:cNvPr>
          <p:cNvGrpSpPr/>
          <p:nvPr userDrawn="1"/>
        </p:nvGrpSpPr>
        <p:grpSpPr>
          <a:xfrm>
            <a:off x="10241984" y="367378"/>
            <a:ext cx="1470743" cy="209663"/>
            <a:chOff x="10240056" y="330434"/>
            <a:chExt cx="1472671" cy="212964"/>
          </a:xfrm>
          <a:solidFill>
            <a:srgbClr val="000000"/>
          </a:solidFill>
        </p:grpSpPr>
        <p:sp>
          <p:nvSpPr>
            <p:cNvPr id="17" name="Freihandform: Form 7">
              <a:extLst>
                <a:ext uri="{FF2B5EF4-FFF2-40B4-BE49-F238E27FC236}">
                  <a16:creationId xmlns:a16="http://schemas.microsoft.com/office/drawing/2014/main" id="{0CB1BE2F-7784-9A9E-DF54-A19B00488CDD}"/>
                </a:ext>
              </a:extLst>
            </p:cNvPr>
            <p:cNvSpPr/>
            <p:nvPr/>
          </p:nvSpPr>
          <p:spPr>
            <a:xfrm>
              <a:off x="10602134" y="335724"/>
              <a:ext cx="213948" cy="204724"/>
            </a:xfrm>
            <a:custGeom>
              <a:avLst/>
              <a:gdLst>
                <a:gd name="connsiteX0" fmla="*/ 160491 w 213948"/>
                <a:gd name="connsiteY0" fmla="*/ 14175 h 204724"/>
                <a:gd name="connsiteX1" fmla="*/ 163136 w 213948"/>
                <a:gd name="connsiteY1" fmla="*/ 14327 h 204724"/>
                <a:gd name="connsiteX2" fmla="*/ 176854 w 213948"/>
                <a:gd name="connsiteY2" fmla="*/ 36064 h 204724"/>
                <a:gd name="connsiteX3" fmla="*/ 176854 w 213948"/>
                <a:gd name="connsiteY3" fmla="*/ 144712 h 204724"/>
                <a:gd name="connsiteX4" fmla="*/ 49408 w 213948"/>
                <a:gd name="connsiteY4" fmla="*/ 0 h 204724"/>
                <a:gd name="connsiteX5" fmla="*/ 4834 w 213948"/>
                <a:gd name="connsiteY5" fmla="*/ 0 h 204724"/>
                <a:gd name="connsiteX6" fmla="*/ 4834 w 213948"/>
                <a:gd name="connsiteY6" fmla="*/ 13894 h 204724"/>
                <a:gd name="connsiteX7" fmla="*/ 7292 w 213948"/>
                <a:gd name="connsiteY7" fmla="*/ 14140 h 204724"/>
                <a:gd name="connsiteX8" fmla="*/ 16727 w 213948"/>
                <a:gd name="connsiteY8" fmla="*/ 21163 h 204724"/>
                <a:gd name="connsiteX9" fmla="*/ 16727 w 213948"/>
                <a:gd name="connsiteY9" fmla="*/ 164821 h 204724"/>
                <a:gd name="connsiteX10" fmla="*/ 2681 w 213948"/>
                <a:gd name="connsiteY10" fmla="*/ 188372 h 204724"/>
                <a:gd name="connsiteX11" fmla="*/ 0 w 213948"/>
                <a:gd name="connsiteY11" fmla="*/ 188513 h 204724"/>
                <a:gd name="connsiteX12" fmla="*/ 0 w 213948"/>
                <a:gd name="connsiteY12" fmla="*/ 202559 h 204724"/>
                <a:gd name="connsiteX13" fmla="*/ 54523 w 213948"/>
                <a:gd name="connsiteY13" fmla="*/ 202559 h 204724"/>
                <a:gd name="connsiteX14" fmla="*/ 54523 w 213948"/>
                <a:gd name="connsiteY14" fmla="*/ 188665 h 204724"/>
                <a:gd name="connsiteX15" fmla="*/ 51936 w 213948"/>
                <a:gd name="connsiteY15" fmla="*/ 188466 h 204724"/>
                <a:gd name="connsiteX16" fmla="*/ 38580 w 213948"/>
                <a:gd name="connsiteY16" fmla="*/ 162457 h 204724"/>
                <a:gd name="connsiteX17" fmla="*/ 38580 w 213948"/>
                <a:gd name="connsiteY17" fmla="*/ 46048 h 204724"/>
                <a:gd name="connsiteX18" fmla="*/ 177873 w 213948"/>
                <a:gd name="connsiteY18" fmla="*/ 203776 h 204724"/>
                <a:gd name="connsiteX19" fmla="*/ 178716 w 213948"/>
                <a:gd name="connsiteY19" fmla="*/ 204724 h 204724"/>
                <a:gd name="connsiteX20" fmla="*/ 198708 w 213948"/>
                <a:gd name="connsiteY20" fmla="*/ 204724 h 204724"/>
                <a:gd name="connsiteX21" fmla="*/ 198708 w 213948"/>
                <a:gd name="connsiteY21" fmla="*/ 39271 h 204724"/>
                <a:gd name="connsiteX22" fmla="*/ 211373 w 213948"/>
                <a:gd name="connsiteY22" fmla="*/ 14421 h 204724"/>
                <a:gd name="connsiteX23" fmla="*/ 213948 w 213948"/>
                <a:gd name="connsiteY23" fmla="*/ 14198 h 204724"/>
                <a:gd name="connsiteX24" fmla="*/ 213948 w 213948"/>
                <a:gd name="connsiteY24" fmla="*/ 0 h 204724"/>
                <a:gd name="connsiteX25" fmla="*/ 160491 w 213948"/>
                <a:gd name="connsiteY25" fmla="*/ 0 h 20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3948" h="204724">
                  <a:moveTo>
                    <a:pt x="160491" y="14175"/>
                  </a:moveTo>
                  <a:lnTo>
                    <a:pt x="163136" y="14327"/>
                  </a:lnTo>
                  <a:cubicBezTo>
                    <a:pt x="176878" y="15111"/>
                    <a:pt x="176878" y="17909"/>
                    <a:pt x="176854" y="36064"/>
                  </a:cubicBezTo>
                  <a:lnTo>
                    <a:pt x="176854" y="144712"/>
                  </a:lnTo>
                  <a:lnTo>
                    <a:pt x="49408" y="0"/>
                  </a:lnTo>
                  <a:lnTo>
                    <a:pt x="4834" y="0"/>
                  </a:lnTo>
                  <a:lnTo>
                    <a:pt x="4834" y="13894"/>
                  </a:lnTo>
                  <a:lnTo>
                    <a:pt x="7292" y="14140"/>
                  </a:lnTo>
                  <a:cubicBezTo>
                    <a:pt x="14655" y="14643"/>
                    <a:pt x="16586" y="17101"/>
                    <a:pt x="16727" y="21163"/>
                  </a:cubicBezTo>
                  <a:lnTo>
                    <a:pt x="16727" y="164821"/>
                  </a:lnTo>
                  <a:cubicBezTo>
                    <a:pt x="16727" y="182882"/>
                    <a:pt x="16727" y="187728"/>
                    <a:pt x="2681" y="188372"/>
                  </a:cubicBezTo>
                  <a:lnTo>
                    <a:pt x="0" y="188513"/>
                  </a:lnTo>
                  <a:lnTo>
                    <a:pt x="0" y="202559"/>
                  </a:lnTo>
                  <a:lnTo>
                    <a:pt x="54523" y="202559"/>
                  </a:lnTo>
                  <a:lnTo>
                    <a:pt x="54523" y="188665"/>
                  </a:lnTo>
                  <a:lnTo>
                    <a:pt x="51936" y="188466"/>
                  </a:lnTo>
                  <a:cubicBezTo>
                    <a:pt x="38557" y="187424"/>
                    <a:pt x="38569" y="182145"/>
                    <a:pt x="38580" y="162457"/>
                  </a:cubicBezTo>
                  <a:lnTo>
                    <a:pt x="38580" y="46048"/>
                  </a:lnTo>
                  <a:lnTo>
                    <a:pt x="177873" y="203776"/>
                  </a:lnTo>
                  <a:lnTo>
                    <a:pt x="178716" y="204724"/>
                  </a:lnTo>
                  <a:lnTo>
                    <a:pt x="198708" y="204724"/>
                  </a:lnTo>
                  <a:lnTo>
                    <a:pt x="198708" y="39271"/>
                  </a:lnTo>
                  <a:cubicBezTo>
                    <a:pt x="198708" y="19080"/>
                    <a:pt x="199797" y="15521"/>
                    <a:pt x="211373" y="14421"/>
                  </a:cubicBezTo>
                  <a:lnTo>
                    <a:pt x="213948" y="14198"/>
                  </a:lnTo>
                  <a:lnTo>
                    <a:pt x="213948" y="0"/>
                  </a:lnTo>
                  <a:lnTo>
                    <a:pt x="160491" y="0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ihandform: Form 8">
              <a:extLst>
                <a:ext uri="{FF2B5EF4-FFF2-40B4-BE49-F238E27FC236}">
                  <a16:creationId xmlns:a16="http://schemas.microsoft.com/office/drawing/2014/main" id="{D943CACF-5D02-F7AF-3061-D76AA4F07102}"/>
                </a:ext>
              </a:extLst>
            </p:cNvPr>
            <p:cNvSpPr/>
            <p:nvPr/>
          </p:nvSpPr>
          <p:spPr>
            <a:xfrm>
              <a:off x="10240056" y="330434"/>
              <a:ext cx="150166" cy="212964"/>
            </a:xfrm>
            <a:custGeom>
              <a:avLst/>
              <a:gdLst>
                <a:gd name="connsiteX0" fmla="*/ 87918 w 150166"/>
                <a:gd name="connsiteY0" fmla="*/ 86267 h 212964"/>
                <a:gd name="connsiteX1" fmla="*/ 87918 w 150166"/>
                <a:gd name="connsiteY1" fmla="*/ 86267 h 212964"/>
                <a:gd name="connsiteX2" fmla="*/ 43309 w 150166"/>
                <a:gd name="connsiteY2" fmla="*/ 46282 h 212964"/>
                <a:gd name="connsiteX3" fmla="*/ 73427 w 150166"/>
                <a:gd name="connsiteY3" fmla="*/ 17078 h 212964"/>
                <a:gd name="connsiteX4" fmla="*/ 120248 w 150166"/>
                <a:gd name="connsiteY4" fmla="*/ 39739 h 212964"/>
                <a:gd name="connsiteX5" fmla="*/ 121032 w 150166"/>
                <a:gd name="connsiteY5" fmla="*/ 41331 h 212964"/>
                <a:gd name="connsiteX6" fmla="*/ 136109 w 150166"/>
                <a:gd name="connsiteY6" fmla="*/ 41167 h 212964"/>
                <a:gd name="connsiteX7" fmla="*/ 129589 w 150166"/>
                <a:gd name="connsiteY7" fmla="*/ 3078 h 212964"/>
                <a:gd name="connsiteX8" fmla="*/ 120026 w 150166"/>
                <a:gd name="connsiteY8" fmla="*/ 3078 h 212964"/>
                <a:gd name="connsiteX9" fmla="*/ 118551 w 150166"/>
                <a:gd name="connsiteY9" fmla="*/ 3746 h 212964"/>
                <a:gd name="connsiteX10" fmla="*/ 110977 w 150166"/>
                <a:gd name="connsiteY10" fmla="*/ 5384 h 212964"/>
                <a:gd name="connsiteX11" fmla="*/ 101438 w 150166"/>
                <a:gd name="connsiteY11" fmla="*/ 3804 h 212964"/>
                <a:gd name="connsiteX12" fmla="*/ 95807 w 150166"/>
                <a:gd name="connsiteY12" fmla="*/ 2634 h 212964"/>
                <a:gd name="connsiteX13" fmla="*/ 69412 w 150166"/>
                <a:gd name="connsiteY13" fmla="*/ 0 h 212964"/>
                <a:gd name="connsiteX14" fmla="*/ 5103 w 150166"/>
                <a:gd name="connsiteY14" fmla="*/ 55096 h 212964"/>
                <a:gd name="connsiteX15" fmla="*/ 63817 w 150166"/>
                <a:gd name="connsiteY15" fmla="*/ 117415 h 212964"/>
                <a:gd name="connsiteX16" fmla="*/ 110966 w 150166"/>
                <a:gd name="connsiteY16" fmla="*/ 162094 h 212964"/>
                <a:gd name="connsiteX17" fmla="*/ 72093 w 150166"/>
                <a:gd name="connsiteY17" fmla="*/ 193944 h 212964"/>
                <a:gd name="connsiteX18" fmla="*/ 15030 w 150166"/>
                <a:gd name="connsiteY18" fmla="*/ 167174 h 212964"/>
                <a:gd name="connsiteX19" fmla="*/ 14327 w 150166"/>
                <a:gd name="connsiteY19" fmla="*/ 165418 h 212964"/>
                <a:gd name="connsiteX20" fmla="*/ 0 w 150166"/>
                <a:gd name="connsiteY20" fmla="*/ 165418 h 212964"/>
                <a:gd name="connsiteX21" fmla="*/ 6368 w 150166"/>
                <a:gd name="connsiteY21" fmla="*/ 208283 h 212964"/>
                <a:gd name="connsiteX22" fmla="*/ 17932 w 150166"/>
                <a:gd name="connsiteY22" fmla="*/ 208283 h 212964"/>
                <a:gd name="connsiteX23" fmla="*/ 18740 w 150166"/>
                <a:gd name="connsiteY23" fmla="*/ 207510 h 212964"/>
                <a:gd name="connsiteX24" fmla="*/ 25997 w 150166"/>
                <a:gd name="connsiteY24" fmla="*/ 205895 h 212964"/>
                <a:gd name="connsiteX25" fmla="*/ 38393 w 150166"/>
                <a:gd name="connsiteY25" fmla="*/ 208107 h 212964"/>
                <a:gd name="connsiteX26" fmla="*/ 74445 w 150166"/>
                <a:gd name="connsiteY26" fmla="*/ 212965 h 212964"/>
                <a:gd name="connsiteX27" fmla="*/ 150167 w 150166"/>
                <a:gd name="connsiteY27" fmla="*/ 152648 h 212964"/>
                <a:gd name="connsiteX28" fmla="*/ 87930 w 150166"/>
                <a:gd name="connsiteY28" fmla="*/ 86267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0166" h="212964">
                  <a:moveTo>
                    <a:pt x="87918" y="86267"/>
                  </a:moveTo>
                  <a:lnTo>
                    <a:pt x="87918" y="86267"/>
                  </a:lnTo>
                  <a:cubicBezTo>
                    <a:pt x="64976" y="74750"/>
                    <a:pt x="43309" y="63864"/>
                    <a:pt x="43309" y="46282"/>
                  </a:cubicBezTo>
                  <a:cubicBezTo>
                    <a:pt x="43309" y="34507"/>
                    <a:pt x="52884" y="17078"/>
                    <a:pt x="73427" y="17078"/>
                  </a:cubicBezTo>
                  <a:cubicBezTo>
                    <a:pt x="97142" y="17078"/>
                    <a:pt x="111305" y="23574"/>
                    <a:pt x="120248" y="39739"/>
                  </a:cubicBezTo>
                  <a:lnTo>
                    <a:pt x="121032" y="41331"/>
                  </a:lnTo>
                  <a:lnTo>
                    <a:pt x="136109" y="41167"/>
                  </a:lnTo>
                  <a:lnTo>
                    <a:pt x="129589" y="3078"/>
                  </a:lnTo>
                  <a:lnTo>
                    <a:pt x="120026" y="3078"/>
                  </a:lnTo>
                  <a:lnTo>
                    <a:pt x="118551" y="3746"/>
                  </a:lnTo>
                  <a:cubicBezTo>
                    <a:pt x="116205" y="4922"/>
                    <a:pt x="113600" y="5486"/>
                    <a:pt x="110977" y="5384"/>
                  </a:cubicBezTo>
                  <a:cubicBezTo>
                    <a:pt x="106998" y="5232"/>
                    <a:pt x="105242" y="4577"/>
                    <a:pt x="101438" y="3804"/>
                  </a:cubicBezTo>
                  <a:cubicBezTo>
                    <a:pt x="99822" y="3465"/>
                    <a:pt x="98031" y="3008"/>
                    <a:pt x="95807" y="2634"/>
                  </a:cubicBezTo>
                  <a:cubicBezTo>
                    <a:pt x="87117" y="890"/>
                    <a:pt x="78276" y="8"/>
                    <a:pt x="69412" y="0"/>
                  </a:cubicBezTo>
                  <a:cubicBezTo>
                    <a:pt x="33945" y="0"/>
                    <a:pt x="5103" y="24710"/>
                    <a:pt x="5103" y="55096"/>
                  </a:cubicBezTo>
                  <a:cubicBezTo>
                    <a:pt x="5103" y="85846"/>
                    <a:pt x="34952" y="101917"/>
                    <a:pt x="63817" y="117415"/>
                  </a:cubicBezTo>
                  <a:cubicBezTo>
                    <a:pt x="88059" y="130455"/>
                    <a:pt x="110966" y="142804"/>
                    <a:pt x="110966" y="162094"/>
                  </a:cubicBezTo>
                  <a:cubicBezTo>
                    <a:pt x="110966" y="180249"/>
                    <a:pt x="94251" y="193944"/>
                    <a:pt x="72093" y="193944"/>
                  </a:cubicBezTo>
                  <a:cubicBezTo>
                    <a:pt x="41799" y="193944"/>
                    <a:pt x="23130" y="185177"/>
                    <a:pt x="15030" y="167174"/>
                  </a:cubicBezTo>
                  <a:lnTo>
                    <a:pt x="14327" y="165418"/>
                  </a:lnTo>
                  <a:lnTo>
                    <a:pt x="0" y="165418"/>
                  </a:lnTo>
                  <a:lnTo>
                    <a:pt x="6368" y="208283"/>
                  </a:lnTo>
                  <a:lnTo>
                    <a:pt x="17932" y="208283"/>
                  </a:lnTo>
                  <a:lnTo>
                    <a:pt x="18740" y="207510"/>
                  </a:lnTo>
                  <a:cubicBezTo>
                    <a:pt x="20461" y="205965"/>
                    <a:pt x="22603" y="205860"/>
                    <a:pt x="25997" y="205895"/>
                  </a:cubicBezTo>
                  <a:cubicBezTo>
                    <a:pt x="29392" y="205930"/>
                    <a:pt x="33313" y="206878"/>
                    <a:pt x="38393" y="208107"/>
                  </a:cubicBezTo>
                  <a:cubicBezTo>
                    <a:pt x="50154" y="211257"/>
                    <a:pt x="62270" y="212889"/>
                    <a:pt x="74445" y="212965"/>
                  </a:cubicBezTo>
                  <a:cubicBezTo>
                    <a:pt x="118328" y="212965"/>
                    <a:pt x="150167" y="187600"/>
                    <a:pt x="150167" y="152648"/>
                  </a:cubicBezTo>
                  <a:cubicBezTo>
                    <a:pt x="150167" y="117696"/>
                    <a:pt x="117052" y="100922"/>
                    <a:pt x="87930" y="86267"/>
                  </a:cubicBezTo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ihandform: Form 9">
              <a:extLst>
                <a:ext uri="{FF2B5EF4-FFF2-40B4-BE49-F238E27FC236}">
                  <a16:creationId xmlns:a16="http://schemas.microsoft.com/office/drawing/2014/main" id="{4BB87B65-7759-B46A-5C87-78E8581EBC6B}"/>
                </a:ext>
              </a:extLst>
            </p:cNvPr>
            <p:cNvSpPr/>
            <p:nvPr/>
          </p:nvSpPr>
          <p:spPr>
            <a:xfrm>
              <a:off x="10421346" y="335748"/>
              <a:ext cx="149780" cy="202570"/>
            </a:xfrm>
            <a:custGeom>
              <a:avLst/>
              <a:gdLst>
                <a:gd name="connsiteX0" fmla="*/ 10184 w 149780"/>
                <a:gd name="connsiteY0" fmla="*/ 176725 h 202570"/>
                <a:gd name="connsiteX1" fmla="*/ 2540 w 149780"/>
                <a:gd name="connsiteY1" fmla="*/ 187986 h 202570"/>
                <a:gd name="connsiteX2" fmla="*/ 0 w 149780"/>
                <a:gd name="connsiteY2" fmla="*/ 188232 h 202570"/>
                <a:gd name="connsiteX3" fmla="*/ 0 w 149780"/>
                <a:gd name="connsiteY3" fmla="*/ 202571 h 202570"/>
                <a:gd name="connsiteX4" fmla="*/ 144864 w 149780"/>
                <a:gd name="connsiteY4" fmla="*/ 202571 h 202570"/>
                <a:gd name="connsiteX5" fmla="*/ 149780 w 149780"/>
                <a:gd name="connsiteY5" fmla="*/ 162059 h 202570"/>
                <a:gd name="connsiteX6" fmla="*/ 134563 w 149780"/>
                <a:gd name="connsiteY6" fmla="*/ 162176 h 202570"/>
                <a:gd name="connsiteX7" fmla="*/ 133943 w 149780"/>
                <a:gd name="connsiteY7" fmla="*/ 164107 h 202570"/>
                <a:gd name="connsiteX8" fmla="*/ 101379 w 149780"/>
                <a:gd name="connsiteY8" fmla="*/ 182754 h 202570"/>
                <a:gd name="connsiteX9" fmla="*/ 64192 w 149780"/>
                <a:gd name="connsiteY9" fmla="*/ 182754 h 202570"/>
                <a:gd name="connsiteX10" fmla="*/ 49244 w 149780"/>
                <a:gd name="connsiteY10" fmla="*/ 162749 h 202570"/>
                <a:gd name="connsiteX11" fmla="*/ 49244 w 149780"/>
                <a:gd name="connsiteY11" fmla="*/ 107875 h 202570"/>
                <a:gd name="connsiteX12" fmla="*/ 89042 w 149780"/>
                <a:gd name="connsiteY12" fmla="*/ 107875 h 202570"/>
                <a:gd name="connsiteX13" fmla="*/ 107630 w 149780"/>
                <a:gd name="connsiteY13" fmla="*/ 118878 h 202570"/>
                <a:gd name="connsiteX14" fmla="*/ 108051 w 149780"/>
                <a:gd name="connsiteY14" fmla="*/ 121219 h 202570"/>
                <a:gd name="connsiteX15" fmla="*/ 122542 w 149780"/>
                <a:gd name="connsiteY15" fmla="*/ 121219 h 202570"/>
                <a:gd name="connsiteX16" fmla="*/ 122542 w 149780"/>
                <a:gd name="connsiteY16" fmla="*/ 75569 h 202570"/>
                <a:gd name="connsiteX17" fmla="*/ 108285 w 149780"/>
                <a:gd name="connsiteY17" fmla="*/ 75569 h 202570"/>
                <a:gd name="connsiteX18" fmla="*/ 107934 w 149780"/>
                <a:gd name="connsiteY18" fmla="*/ 77910 h 202570"/>
                <a:gd name="connsiteX19" fmla="*/ 89042 w 149780"/>
                <a:gd name="connsiteY19" fmla="*/ 88105 h 202570"/>
                <a:gd name="connsiteX20" fmla="*/ 49244 w 149780"/>
                <a:gd name="connsiteY20" fmla="*/ 88105 h 202570"/>
                <a:gd name="connsiteX21" fmla="*/ 49244 w 149780"/>
                <a:gd name="connsiteY21" fmla="*/ 19829 h 202570"/>
                <a:gd name="connsiteX22" fmla="*/ 102550 w 149780"/>
                <a:gd name="connsiteY22" fmla="*/ 19829 h 202570"/>
                <a:gd name="connsiteX23" fmla="*/ 124310 w 149780"/>
                <a:gd name="connsiteY23" fmla="*/ 34226 h 202570"/>
                <a:gd name="connsiteX24" fmla="*/ 124883 w 149780"/>
                <a:gd name="connsiteY24" fmla="*/ 36286 h 202570"/>
                <a:gd name="connsiteX25" fmla="*/ 140100 w 149780"/>
                <a:gd name="connsiteY25" fmla="*/ 36286 h 202570"/>
                <a:gd name="connsiteX26" fmla="*/ 137595 w 149780"/>
                <a:gd name="connsiteY26" fmla="*/ 0 h 202570"/>
                <a:gd name="connsiteX27" fmla="*/ 222 w 149780"/>
                <a:gd name="connsiteY27" fmla="*/ 0 h 202570"/>
                <a:gd name="connsiteX28" fmla="*/ 222 w 149780"/>
                <a:gd name="connsiteY28" fmla="*/ 14198 h 202570"/>
                <a:gd name="connsiteX29" fmla="*/ 2798 w 149780"/>
                <a:gd name="connsiteY29" fmla="*/ 14374 h 202570"/>
                <a:gd name="connsiteX30" fmla="*/ 10207 w 149780"/>
                <a:gd name="connsiteY30" fmla="*/ 32412 h 202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9780" h="202570">
                  <a:moveTo>
                    <a:pt x="10184" y="176725"/>
                  </a:moveTo>
                  <a:cubicBezTo>
                    <a:pt x="9973" y="184626"/>
                    <a:pt x="9774" y="187260"/>
                    <a:pt x="2540" y="187986"/>
                  </a:cubicBezTo>
                  <a:lnTo>
                    <a:pt x="0" y="188232"/>
                  </a:lnTo>
                  <a:lnTo>
                    <a:pt x="0" y="202571"/>
                  </a:lnTo>
                  <a:lnTo>
                    <a:pt x="144864" y="202571"/>
                  </a:lnTo>
                  <a:lnTo>
                    <a:pt x="149780" y="162059"/>
                  </a:lnTo>
                  <a:lnTo>
                    <a:pt x="134563" y="162176"/>
                  </a:lnTo>
                  <a:lnTo>
                    <a:pt x="133943" y="164107"/>
                  </a:lnTo>
                  <a:cubicBezTo>
                    <a:pt x="127927" y="182964"/>
                    <a:pt x="121734" y="182906"/>
                    <a:pt x="101379" y="182754"/>
                  </a:cubicBezTo>
                  <a:lnTo>
                    <a:pt x="64192" y="182754"/>
                  </a:lnTo>
                  <a:cubicBezTo>
                    <a:pt x="49654" y="182754"/>
                    <a:pt x="49244" y="179909"/>
                    <a:pt x="49244" y="162749"/>
                  </a:cubicBezTo>
                  <a:lnTo>
                    <a:pt x="49244" y="107875"/>
                  </a:lnTo>
                  <a:lnTo>
                    <a:pt x="89042" y="107875"/>
                  </a:lnTo>
                  <a:cubicBezTo>
                    <a:pt x="102292" y="107875"/>
                    <a:pt x="105066" y="108168"/>
                    <a:pt x="107630" y="118878"/>
                  </a:cubicBezTo>
                  <a:lnTo>
                    <a:pt x="108051" y="121219"/>
                  </a:lnTo>
                  <a:lnTo>
                    <a:pt x="122542" y="121219"/>
                  </a:lnTo>
                  <a:lnTo>
                    <a:pt x="122542" y="75569"/>
                  </a:lnTo>
                  <a:lnTo>
                    <a:pt x="108285" y="75569"/>
                  </a:lnTo>
                  <a:lnTo>
                    <a:pt x="107934" y="77910"/>
                  </a:lnTo>
                  <a:cubicBezTo>
                    <a:pt x="106248" y="87368"/>
                    <a:pt x="103158" y="88105"/>
                    <a:pt x="89042" y="88105"/>
                  </a:cubicBezTo>
                  <a:lnTo>
                    <a:pt x="49244" y="88105"/>
                  </a:lnTo>
                  <a:lnTo>
                    <a:pt x="49244" y="19829"/>
                  </a:lnTo>
                  <a:lnTo>
                    <a:pt x="102550" y="19829"/>
                  </a:lnTo>
                  <a:cubicBezTo>
                    <a:pt x="116233" y="19829"/>
                    <a:pt x="120716" y="19829"/>
                    <a:pt x="124310" y="34226"/>
                  </a:cubicBezTo>
                  <a:lnTo>
                    <a:pt x="124883" y="36286"/>
                  </a:lnTo>
                  <a:lnTo>
                    <a:pt x="140100" y="36286"/>
                  </a:lnTo>
                  <a:lnTo>
                    <a:pt x="137595" y="0"/>
                  </a:lnTo>
                  <a:lnTo>
                    <a:pt x="222" y="0"/>
                  </a:lnTo>
                  <a:lnTo>
                    <a:pt x="222" y="14198"/>
                  </a:lnTo>
                  <a:lnTo>
                    <a:pt x="2798" y="14374"/>
                  </a:lnTo>
                  <a:cubicBezTo>
                    <a:pt x="10102" y="15252"/>
                    <a:pt x="10113" y="17886"/>
                    <a:pt x="10207" y="32412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ihandform: Form 10">
              <a:extLst>
                <a:ext uri="{FF2B5EF4-FFF2-40B4-BE49-F238E27FC236}">
                  <a16:creationId xmlns:a16="http://schemas.microsoft.com/office/drawing/2014/main" id="{319C74BD-C9A9-EE0C-929A-E2DE316EF413}"/>
                </a:ext>
              </a:extLst>
            </p:cNvPr>
            <p:cNvSpPr/>
            <p:nvPr/>
          </p:nvSpPr>
          <p:spPr>
            <a:xfrm>
              <a:off x="11496262" y="332657"/>
              <a:ext cx="216465" cy="208540"/>
            </a:xfrm>
            <a:custGeom>
              <a:avLst/>
              <a:gdLst>
                <a:gd name="connsiteX0" fmla="*/ 145742 w 216465"/>
                <a:gd name="connsiteY0" fmla="*/ 131087 h 208540"/>
                <a:gd name="connsiteX1" fmla="*/ 125609 w 216465"/>
                <a:gd name="connsiteY1" fmla="*/ 111902 h 208540"/>
                <a:gd name="connsiteX2" fmla="*/ 162609 w 216465"/>
                <a:gd name="connsiteY2" fmla="*/ 59556 h 208540"/>
                <a:gd name="connsiteX3" fmla="*/ 74738 w 216465"/>
                <a:gd name="connsiteY3" fmla="*/ 0 h 208540"/>
                <a:gd name="connsiteX4" fmla="*/ 36321 w 216465"/>
                <a:gd name="connsiteY4" fmla="*/ 632 h 208540"/>
                <a:gd name="connsiteX5" fmla="*/ 15147 w 216465"/>
                <a:gd name="connsiteY5" fmla="*/ 1662 h 208540"/>
                <a:gd name="connsiteX6" fmla="*/ 6450 w 216465"/>
                <a:gd name="connsiteY6" fmla="*/ 2247 h 208540"/>
                <a:gd name="connsiteX7" fmla="*/ 6450 w 216465"/>
                <a:gd name="connsiteY7" fmla="*/ 16586 h 208540"/>
                <a:gd name="connsiteX8" fmla="*/ 8978 w 216465"/>
                <a:gd name="connsiteY8" fmla="*/ 16703 h 208540"/>
                <a:gd name="connsiteX9" fmla="*/ 17698 w 216465"/>
                <a:gd name="connsiteY9" fmla="*/ 25061 h 208540"/>
                <a:gd name="connsiteX10" fmla="*/ 17581 w 216465"/>
                <a:gd name="connsiteY10" fmla="*/ 173413 h 208540"/>
                <a:gd name="connsiteX11" fmla="*/ 2669 w 216465"/>
                <a:gd name="connsiteY11" fmla="*/ 191486 h 208540"/>
                <a:gd name="connsiteX12" fmla="*/ 0 w 216465"/>
                <a:gd name="connsiteY12" fmla="*/ 191626 h 208540"/>
                <a:gd name="connsiteX13" fmla="*/ 0 w 216465"/>
                <a:gd name="connsiteY13" fmla="*/ 205672 h 208540"/>
                <a:gd name="connsiteX14" fmla="*/ 76435 w 216465"/>
                <a:gd name="connsiteY14" fmla="*/ 205672 h 208540"/>
                <a:gd name="connsiteX15" fmla="*/ 76435 w 216465"/>
                <a:gd name="connsiteY15" fmla="*/ 191544 h 208540"/>
                <a:gd name="connsiteX16" fmla="*/ 73790 w 216465"/>
                <a:gd name="connsiteY16" fmla="*/ 191544 h 208540"/>
                <a:gd name="connsiteX17" fmla="*/ 58374 w 216465"/>
                <a:gd name="connsiteY17" fmla="*/ 164353 h 208540"/>
                <a:gd name="connsiteX18" fmla="*/ 58374 w 216465"/>
                <a:gd name="connsiteY18" fmla="*/ 124192 h 208540"/>
                <a:gd name="connsiteX19" fmla="*/ 82651 w 216465"/>
                <a:gd name="connsiteY19" fmla="*/ 123982 h 208540"/>
                <a:gd name="connsiteX20" fmla="*/ 115425 w 216465"/>
                <a:gd name="connsiteY20" fmla="*/ 153526 h 208540"/>
                <a:gd name="connsiteX21" fmla="*/ 132035 w 216465"/>
                <a:gd name="connsiteY21" fmla="*/ 170276 h 208540"/>
                <a:gd name="connsiteX22" fmla="*/ 141926 w 216465"/>
                <a:gd name="connsiteY22" fmla="*/ 180612 h 208540"/>
                <a:gd name="connsiteX23" fmla="*/ 148797 w 216465"/>
                <a:gd name="connsiteY23" fmla="*/ 188232 h 208540"/>
                <a:gd name="connsiteX24" fmla="*/ 201798 w 216465"/>
                <a:gd name="connsiteY24" fmla="*/ 208540 h 208540"/>
                <a:gd name="connsiteX25" fmla="*/ 213281 w 216465"/>
                <a:gd name="connsiteY25" fmla="*/ 208376 h 208540"/>
                <a:gd name="connsiteX26" fmla="*/ 216465 w 216465"/>
                <a:gd name="connsiteY26" fmla="*/ 208306 h 208540"/>
                <a:gd name="connsiteX27" fmla="*/ 216465 w 216465"/>
                <a:gd name="connsiteY27" fmla="*/ 194201 h 208540"/>
                <a:gd name="connsiteX28" fmla="*/ 213504 w 216465"/>
                <a:gd name="connsiteY28" fmla="*/ 193932 h 208540"/>
                <a:gd name="connsiteX29" fmla="*/ 213504 w 216465"/>
                <a:gd name="connsiteY29" fmla="*/ 193932 h 208540"/>
                <a:gd name="connsiteX30" fmla="*/ 190316 w 216465"/>
                <a:gd name="connsiteY30" fmla="*/ 177159 h 208540"/>
                <a:gd name="connsiteX31" fmla="*/ 171131 w 216465"/>
                <a:gd name="connsiteY31" fmla="*/ 156967 h 208540"/>
                <a:gd name="connsiteX32" fmla="*/ 119031 w 216465"/>
                <a:gd name="connsiteY32" fmla="*/ 62728 h 208540"/>
                <a:gd name="connsiteX33" fmla="*/ 65713 w 216465"/>
                <a:gd name="connsiteY33" fmla="*/ 110041 h 208540"/>
                <a:gd name="connsiteX34" fmla="*/ 58397 w 216465"/>
                <a:gd name="connsiteY34" fmla="*/ 109725 h 208540"/>
                <a:gd name="connsiteX35" fmla="*/ 58397 w 216465"/>
                <a:gd name="connsiteY35" fmla="*/ 15334 h 208540"/>
                <a:gd name="connsiteX36" fmla="*/ 71542 w 216465"/>
                <a:gd name="connsiteY36" fmla="*/ 15182 h 208540"/>
                <a:gd name="connsiteX37" fmla="*/ 119031 w 216465"/>
                <a:gd name="connsiteY37" fmla="*/ 62728 h 20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6465" h="208540">
                  <a:moveTo>
                    <a:pt x="145742" y="131087"/>
                  </a:moveTo>
                  <a:cubicBezTo>
                    <a:pt x="143541" y="128874"/>
                    <a:pt x="132632" y="117930"/>
                    <a:pt x="125609" y="111902"/>
                  </a:cubicBezTo>
                  <a:cubicBezTo>
                    <a:pt x="150190" y="100325"/>
                    <a:pt x="162609" y="82721"/>
                    <a:pt x="162609" y="59556"/>
                  </a:cubicBezTo>
                  <a:cubicBezTo>
                    <a:pt x="162609" y="41647"/>
                    <a:pt x="154053" y="0"/>
                    <a:pt x="74738" y="0"/>
                  </a:cubicBezTo>
                  <a:cubicBezTo>
                    <a:pt x="68242" y="0"/>
                    <a:pt x="53037" y="0"/>
                    <a:pt x="36321" y="632"/>
                  </a:cubicBezTo>
                  <a:cubicBezTo>
                    <a:pt x="26243" y="1077"/>
                    <a:pt x="20332" y="1393"/>
                    <a:pt x="15147" y="1662"/>
                  </a:cubicBezTo>
                  <a:lnTo>
                    <a:pt x="6450" y="2247"/>
                  </a:lnTo>
                  <a:lnTo>
                    <a:pt x="6450" y="16586"/>
                  </a:lnTo>
                  <a:lnTo>
                    <a:pt x="8978" y="16703"/>
                  </a:lnTo>
                  <a:cubicBezTo>
                    <a:pt x="15240" y="17160"/>
                    <a:pt x="17616" y="18787"/>
                    <a:pt x="17698" y="25061"/>
                  </a:cubicBezTo>
                  <a:lnTo>
                    <a:pt x="17581" y="173413"/>
                  </a:lnTo>
                  <a:cubicBezTo>
                    <a:pt x="17195" y="185715"/>
                    <a:pt x="16411" y="190842"/>
                    <a:pt x="2669" y="191486"/>
                  </a:cubicBezTo>
                  <a:lnTo>
                    <a:pt x="0" y="191626"/>
                  </a:lnTo>
                  <a:lnTo>
                    <a:pt x="0" y="205672"/>
                  </a:lnTo>
                  <a:lnTo>
                    <a:pt x="76435" y="205672"/>
                  </a:lnTo>
                  <a:lnTo>
                    <a:pt x="76435" y="191544"/>
                  </a:lnTo>
                  <a:lnTo>
                    <a:pt x="73790" y="191544"/>
                  </a:lnTo>
                  <a:cubicBezTo>
                    <a:pt x="58362" y="190783"/>
                    <a:pt x="58374" y="187260"/>
                    <a:pt x="58374" y="164353"/>
                  </a:cubicBezTo>
                  <a:lnTo>
                    <a:pt x="58374" y="124192"/>
                  </a:lnTo>
                  <a:cubicBezTo>
                    <a:pt x="66462" y="124664"/>
                    <a:pt x="74574" y="124593"/>
                    <a:pt x="82651" y="123982"/>
                  </a:cubicBezTo>
                  <a:cubicBezTo>
                    <a:pt x="95000" y="133205"/>
                    <a:pt x="99635" y="137583"/>
                    <a:pt x="115425" y="153526"/>
                  </a:cubicBezTo>
                  <a:lnTo>
                    <a:pt x="132035" y="170276"/>
                  </a:lnTo>
                  <a:cubicBezTo>
                    <a:pt x="135804" y="174092"/>
                    <a:pt x="139058" y="177556"/>
                    <a:pt x="141926" y="180612"/>
                  </a:cubicBezTo>
                  <a:cubicBezTo>
                    <a:pt x="144525" y="183374"/>
                    <a:pt x="146784" y="185949"/>
                    <a:pt x="148797" y="188232"/>
                  </a:cubicBezTo>
                  <a:cubicBezTo>
                    <a:pt x="161087" y="202173"/>
                    <a:pt x="166706" y="208540"/>
                    <a:pt x="201798" y="208540"/>
                  </a:cubicBezTo>
                  <a:cubicBezTo>
                    <a:pt x="205310" y="208540"/>
                    <a:pt x="209044" y="208540"/>
                    <a:pt x="213281" y="208376"/>
                  </a:cubicBezTo>
                  <a:lnTo>
                    <a:pt x="216465" y="208306"/>
                  </a:lnTo>
                  <a:lnTo>
                    <a:pt x="216465" y="194201"/>
                  </a:lnTo>
                  <a:lnTo>
                    <a:pt x="213504" y="193932"/>
                  </a:lnTo>
                  <a:lnTo>
                    <a:pt x="213504" y="193932"/>
                  </a:lnTo>
                  <a:cubicBezTo>
                    <a:pt x="205228" y="193160"/>
                    <a:pt x="200253" y="187810"/>
                    <a:pt x="190316" y="177159"/>
                  </a:cubicBezTo>
                  <a:lnTo>
                    <a:pt x="171131" y="156967"/>
                  </a:lnTo>
                  <a:close/>
                  <a:moveTo>
                    <a:pt x="119031" y="62728"/>
                  </a:moveTo>
                  <a:cubicBezTo>
                    <a:pt x="119031" y="95210"/>
                    <a:pt x="104247" y="108554"/>
                    <a:pt x="65713" y="110041"/>
                  </a:cubicBezTo>
                  <a:cubicBezTo>
                    <a:pt x="64543" y="110041"/>
                    <a:pt x="61195" y="110041"/>
                    <a:pt x="58397" y="109725"/>
                  </a:cubicBezTo>
                  <a:lnTo>
                    <a:pt x="58397" y="15334"/>
                  </a:lnTo>
                  <a:cubicBezTo>
                    <a:pt x="62225" y="15182"/>
                    <a:pt x="68101" y="15182"/>
                    <a:pt x="71542" y="15182"/>
                  </a:cubicBezTo>
                  <a:cubicBezTo>
                    <a:pt x="103193" y="15170"/>
                    <a:pt x="119031" y="31159"/>
                    <a:pt x="119031" y="62728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ihandform: Form 11">
              <a:extLst>
                <a:ext uri="{FF2B5EF4-FFF2-40B4-BE49-F238E27FC236}">
                  <a16:creationId xmlns:a16="http://schemas.microsoft.com/office/drawing/2014/main" id="{514AF8FA-3761-B95B-36F6-B3B93B57FF86}"/>
                </a:ext>
              </a:extLst>
            </p:cNvPr>
            <p:cNvSpPr/>
            <p:nvPr/>
          </p:nvSpPr>
          <p:spPr>
            <a:xfrm>
              <a:off x="10830304" y="335724"/>
              <a:ext cx="207171" cy="202652"/>
            </a:xfrm>
            <a:custGeom>
              <a:avLst/>
              <a:gdLst>
                <a:gd name="connsiteX0" fmla="*/ 121430 w 207171"/>
                <a:gd name="connsiteY0" fmla="*/ 0 h 202652"/>
                <a:gd name="connsiteX1" fmla="*/ 90762 w 207171"/>
                <a:gd name="connsiteY1" fmla="*/ 0 h 202652"/>
                <a:gd name="connsiteX2" fmla="*/ 24979 w 207171"/>
                <a:gd name="connsiteY2" fmla="*/ 164529 h 202652"/>
                <a:gd name="connsiteX3" fmla="*/ 2610 w 207171"/>
                <a:gd name="connsiteY3" fmla="*/ 188431 h 202652"/>
                <a:gd name="connsiteX4" fmla="*/ 0 w 207171"/>
                <a:gd name="connsiteY4" fmla="*/ 188606 h 202652"/>
                <a:gd name="connsiteX5" fmla="*/ 0 w 207171"/>
                <a:gd name="connsiteY5" fmla="*/ 202652 h 202652"/>
                <a:gd name="connsiteX6" fmla="*/ 56735 w 207171"/>
                <a:gd name="connsiteY6" fmla="*/ 202652 h 202652"/>
                <a:gd name="connsiteX7" fmla="*/ 56735 w 207171"/>
                <a:gd name="connsiteY7" fmla="*/ 188712 h 202652"/>
                <a:gd name="connsiteX8" fmla="*/ 54184 w 207171"/>
                <a:gd name="connsiteY8" fmla="*/ 188489 h 202652"/>
                <a:gd name="connsiteX9" fmla="*/ 41530 w 207171"/>
                <a:gd name="connsiteY9" fmla="*/ 178879 h 202652"/>
                <a:gd name="connsiteX10" fmla="*/ 44562 w 207171"/>
                <a:gd name="connsiteY10" fmla="*/ 167478 h 202652"/>
                <a:gd name="connsiteX11" fmla="*/ 59779 w 207171"/>
                <a:gd name="connsiteY11" fmla="*/ 128196 h 202652"/>
                <a:gd name="connsiteX12" fmla="*/ 129706 w 207171"/>
                <a:gd name="connsiteY12" fmla="*/ 128196 h 202652"/>
                <a:gd name="connsiteX13" fmla="*/ 144923 w 207171"/>
                <a:gd name="connsiteY13" fmla="*/ 167385 h 202652"/>
                <a:gd name="connsiteX14" fmla="*/ 148844 w 207171"/>
                <a:gd name="connsiteY14" fmla="*/ 179734 h 202652"/>
                <a:gd name="connsiteX15" fmla="*/ 148937 w 207171"/>
                <a:gd name="connsiteY15" fmla="*/ 180202 h 202652"/>
                <a:gd name="connsiteX16" fmla="*/ 147896 w 207171"/>
                <a:gd name="connsiteY16" fmla="*/ 184802 h 202652"/>
                <a:gd name="connsiteX17" fmla="*/ 136577 w 207171"/>
                <a:gd name="connsiteY17" fmla="*/ 188243 h 202652"/>
                <a:gd name="connsiteX18" fmla="*/ 134002 w 207171"/>
                <a:gd name="connsiteY18" fmla="*/ 188442 h 202652"/>
                <a:gd name="connsiteX19" fmla="*/ 134002 w 207171"/>
                <a:gd name="connsiteY19" fmla="*/ 202606 h 202652"/>
                <a:gd name="connsiteX20" fmla="*/ 207171 w 207171"/>
                <a:gd name="connsiteY20" fmla="*/ 202606 h 202652"/>
                <a:gd name="connsiteX21" fmla="*/ 207171 w 207171"/>
                <a:gd name="connsiteY21" fmla="*/ 188700 h 202652"/>
                <a:gd name="connsiteX22" fmla="*/ 204502 w 207171"/>
                <a:gd name="connsiteY22" fmla="*/ 188559 h 202652"/>
                <a:gd name="connsiteX23" fmla="*/ 184603 w 207171"/>
                <a:gd name="connsiteY23" fmla="*/ 167759 h 202652"/>
                <a:gd name="connsiteX24" fmla="*/ 121641 w 207171"/>
                <a:gd name="connsiteY24" fmla="*/ 107161 h 202652"/>
                <a:gd name="connsiteX25" fmla="*/ 67797 w 207171"/>
                <a:gd name="connsiteY25" fmla="*/ 107161 h 202652"/>
                <a:gd name="connsiteX26" fmla="*/ 95140 w 207171"/>
                <a:gd name="connsiteY26" fmla="*/ 37012 h 20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7171" h="202652">
                  <a:moveTo>
                    <a:pt x="121430" y="0"/>
                  </a:moveTo>
                  <a:lnTo>
                    <a:pt x="90762" y="0"/>
                  </a:lnTo>
                  <a:lnTo>
                    <a:pt x="24979" y="164529"/>
                  </a:lnTo>
                  <a:cubicBezTo>
                    <a:pt x="17172" y="183994"/>
                    <a:pt x="15755" y="187506"/>
                    <a:pt x="2610" y="188431"/>
                  </a:cubicBezTo>
                  <a:lnTo>
                    <a:pt x="0" y="188606"/>
                  </a:lnTo>
                  <a:lnTo>
                    <a:pt x="0" y="202652"/>
                  </a:lnTo>
                  <a:lnTo>
                    <a:pt x="56735" y="202652"/>
                  </a:lnTo>
                  <a:lnTo>
                    <a:pt x="56735" y="188712"/>
                  </a:lnTo>
                  <a:lnTo>
                    <a:pt x="54184" y="188489"/>
                  </a:lnTo>
                  <a:cubicBezTo>
                    <a:pt x="43649" y="187319"/>
                    <a:pt x="41202" y="183315"/>
                    <a:pt x="41530" y="178879"/>
                  </a:cubicBezTo>
                  <a:cubicBezTo>
                    <a:pt x="41741" y="176105"/>
                    <a:pt x="42572" y="172839"/>
                    <a:pt x="44562" y="167478"/>
                  </a:cubicBezTo>
                  <a:lnTo>
                    <a:pt x="59779" y="128196"/>
                  </a:lnTo>
                  <a:lnTo>
                    <a:pt x="129706" y="128196"/>
                  </a:lnTo>
                  <a:lnTo>
                    <a:pt x="144923" y="167385"/>
                  </a:lnTo>
                  <a:cubicBezTo>
                    <a:pt x="147369" y="174326"/>
                    <a:pt x="147907" y="175672"/>
                    <a:pt x="148844" y="179734"/>
                  </a:cubicBezTo>
                  <a:lnTo>
                    <a:pt x="148937" y="180202"/>
                  </a:lnTo>
                  <a:cubicBezTo>
                    <a:pt x="149324" y="181814"/>
                    <a:pt x="148939" y="183513"/>
                    <a:pt x="147896" y="184802"/>
                  </a:cubicBezTo>
                  <a:cubicBezTo>
                    <a:pt x="146421" y="186651"/>
                    <a:pt x="142780" y="187763"/>
                    <a:pt x="136577" y="188243"/>
                  </a:cubicBezTo>
                  <a:lnTo>
                    <a:pt x="134002" y="188442"/>
                  </a:lnTo>
                  <a:lnTo>
                    <a:pt x="134002" y="202606"/>
                  </a:lnTo>
                  <a:lnTo>
                    <a:pt x="207171" y="202606"/>
                  </a:lnTo>
                  <a:lnTo>
                    <a:pt x="207171" y="188700"/>
                  </a:lnTo>
                  <a:lnTo>
                    <a:pt x="204502" y="188559"/>
                  </a:lnTo>
                  <a:cubicBezTo>
                    <a:pt x="191989" y="187986"/>
                    <a:pt x="190854" y="184896"/>
                    <a:pt x="184603" y="167759"/>
                  </a:cubicBezTo>
                  <a:close/>
                  <a:moveTo>
                    <a:pt x="121641" y="107161"/>
                  </a:moveTo>
                  <a:lnTo>
                    <a:pt x="67797" y="107161"/>
                  </a:lnTo>
                  <a:lnTo>
                    <a:pt x="95140" y="37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ihandform: Form 12">
              <a:extLst>
                <a:ext uri="{FF2B5EF4-FFF2-40B4-BE49-F238E27FC236}">
                  <a16:creationId xmlns:a16="http://schemas.microsoft.com/office/drawing/2014/main" id="{36547CBB-B272-BA61-48CA-BBA4D7776215}"/>
                </a:ext>
              </a:extLst>
            </p:cNvPr>
            <p:cNvSpPr/>
            <p:nvPr/>
          </p:nvSpPr>
          <p:spPr>
            <a:xfrm>
              <a:off x="11256925" y="330434"/>
              <a:ext cx="218794" cy="212964"/>
            </a:xfrm>
            <a:custGeom>
              <a:avLst/>
              <a:gdLst>
                <a:gd name="connsiteX0" fmla="*/ 109397 w 218794"/>
                <a:gd name="connsiteY0" fmla="*/ 0 h 212964"/>
                <a:gd name="connsiteX1" fmla="*/ 0 w 218794"/>
                <a:gd name="connsiteY1" fmla="*/ 111878 h 212964"/>
                <a:gd name="connsiteX2" fmla="*/ 108227 w 218794"/>
                <a:gd name="connsiteY2" fmla="*/ 212965 h 212964"/>
                <a:gd name="connsiteX3" fmla="*/ 218794 w 218794"/>
                <a:gd name="connsiteY3" fmla="*/ 102994 h 212964"/>
                <a:gd name="connsiteX4" fmla="*/ 109397 w 218794"/>
                <a:gd name="connsiteY4" fmla="*/ 0 h 212964"/>
                <a:gd name="connsiteX5" fmla="*/ 177861 w 218794"/>
                <a:gd name="connsiteY5" fmla="*/ 110919 h 212964"/>
                <a:gd name="connsiteX6" fmla="*/ 112897 w 218794"/>
                <a:gd name="connsiteY6" fmla="*/ 197210 h 212964"/>
                <a:gd name="connsiteX7" fmla="*/ 40945 w 218794"/>
                <a:gd name="connsiteY7" fmla="*/ 103310 h 212964"/>
                <a:gd name="connsiteX8" fmla="*/ 107056 w 218794"/>
                <a:gd name="connsiteY8" fmla="*/ 15744 h 212964"/>
                <a:gd name="connsiteX9" fmla="*/ 177861 w 218794"/>
                <a:gd name="connsiteY9" fmla="*/ 110919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794" h="212964">
                  <a:moveTo>
                    <a:pt x="109397" y="0"/>
                  </a:moveTo>
                  <a:cubicBezTo>
                    <a:pt x="45966" y="0"/>
                    <a:pt x="0" y="47043"/>
                    <a:pt x="0" y="111878"/>
                  </a:cubicBezTo>
                  <a:cubicBezTo>
                    <a:pt x="0" y="170405"/>
                    <a:pt x="45522" y="212965"/>
                    <a:pt x="108227" y="212965"/>
                  </a:cubicBezTo>
                  <a:cubicBezTo>
                    <a:pt x="171259" y="212965"/>
                    <a:pt x="218794" y="165687"/>
                    <a:pt x="218794" y="102994"/>
                  </a:cubicBezTo>
                  <a:cubicBezTo>
                    <a:pt x="218794" y="42349"/>
                    <a:pt x="173811" y="0"/>
                    <a:pt x="109397" y="0"/>
                  </a:cubicBezTo>
                  <a:close/>
                  <a:moveTo>
                    <a:pt x="177861" y="110919"/>
                  </a:moveTo>
                  <a:cubicBezTo>
                    <a:pt x="177861" y="162539"/>
                    <a:pt x="151758" y="197210"/>
                    <a:pt x="112897" y="197210"/>
                  </a:cubicBezTo>
                  <a:cubicBezTo>
                    <a:pt x="77138" y="197210"/>
                    <a:pt x="40945" y="164950"/>
                    <a:pt x="40945" y="103310"/>
                  </a:cubicBezTo>
                  <a:cubicBezTo>
                    <a:pt x="40945" y="49302"/>
                    <a:pt x="66275" y="15744"/>
                    <a:pt x="107056" y="15744"/>
                  </a:cubicBezTo>
                  <a:cubicBezTo>
                    <a:pt x="148738" y="15744"/>
                    <a:pt x="177861" y="54886"/>
                    <a:pt x="177861" y="110919"/>
                  </a:cubicBez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Freihandform: Form 13">
              <a:extLst>
                <a:ext uri="{FF2B5EF4-FFF2-40B4-BE49-F238E27FC236}">
                  <a16:creationId xmlns:a16="http://schemas.microsoft.com/office/drawing/2014/main" id="{044A1871-744E-DCAA-1181-EFE93BD59058}"/>
                </a:ext>
              </a:extLst>
            </p:cNvPr>
            <p:cNvSpPr/>
            <p:nvPr/>
          </p:nvSpPr>
          <p:spPr>
            <a:xfrm>
              <a:off x="11045727" y="330434"/>
              <a:ext cx="196811" cy="212964"/>
            </a:xfrm>
            <a:custGeom>
              <a:avLst/>
              <a:gdLst>
                <a:gd name="connsiteX0" fmla="*/ 196812 w 196811"/>
                <a:gd name="connsiteY0" fmla="*/ 165348 h 212964"/>
                <a:gd name="connsiteX1" fmla="*/ 180635 w 196811"/>
                <a:gd name="connsiteY1" fmla="*/ 165547 h 212964"/>
                <a:gd name="connsiteX2" fmla="*/ 179828 w 196811"/>
                <a:gd name="connsiteY2" fmla="*/ 166659 h 212964"/>
                <a:gd name="connsiteX3" fmla="*/ 118960 w 196811"/>
                <a:gd name="connsiteY3" fmla="*/ 195922 h 212964"/>
                <a:gd name="connsiteX4" fmla="*/ 70255 w 196811"/>
                <a:gd name="connsiteY4" fmla="*/ 176585 h 212964"/>
                <a:gd name="connsiteX5" fmla="*/ 41729 w 196811"/>
                <a:gd name="connsiteY5" fmla="*/ 102023 h 212964"/>
                <a:gd name="connsiteX6" fmla="*/ 113623 w 196811"/>
                <a:gd name="connsiteY6" fmla="*/ 15720 h 212964"/>
                <a:gd name="connsiteX7" fmla="*/ 179359 w 196811"/>
                <a:gd name="connsiteY7" fmla="*/ 50391 h 212964"/>
                <a:gd name="connsiteX8" fmla="*/ 180155 w 196811"/>
                <a:gd name="connsiteY8" fmla="*/ 51959 h 212964"/>
                <a:gd name="connsiteX9" fmla="*/ 193558 w 196811"/>
                <a:gd name="connsiteY9" fmla="*/ 51749 h 212964"/>
                <a:gd name="connsiteX10" fmla="*/ 192259 w 196811"/>
                <a:gd name="connsiteY10" fmla="*/ 9142 h 212964"/>
                <a:gd name="connsiteX11" fmla="*/ 181267 w 196811"/>
                <a:gd name="connsiteY11" fmla="*/ 9142 h 212964"/>
                <a:gd name="connsiteX12" fmla="*/ 180694 w 196811"/>
                <a:gd name="connsiteY12" fmla="*/ 9528 h 212964"/>
                <a:gd name="connsiteX13" fmla="*/ 176515 w 196811"/>
                <a:gd name="connsiteY13" fmla="*/ 10453 h 212964"/>
                <a:gd name="connsiteX14" fmla="*/ 163768 w 196811"/>
                <a:gd name="connsiteY14" fmla="*/ 7761 h 212964"/>
                <a:gd name="connsiteX15" fmla="*/ 112441 w 196811"/>
                <a:gd name="connsiteY15" fmla="*/ 0 h 212964"/>
                <a:gd name="connsiteX16" fmla="*/ 0 w 196811"/>
                <a:gd name="connsiteY16" fmla="*/ 110275 h 212964"/>
                <a:gd name="connsiteX17" fmla="*/ 110029 w 196811"/>
                <a:gd name="connsiteY17" fmla="*/ 212965 h 212964"/>
                <a:gd name="connsiteX18" fmla="*/ 149382 w 196811"/>
                <a:gd name="connsiteY18" fmla="*/ 208411 h 212964"/>
                <a:gd name="connsiteX19" fmla="*/ 169808 w 196811"/>
                <a:gd name="connsiteY19" fmla="*/ 205661 h 212964"/>
                <a:gd name="connsiteX20" fmla="*/ 172804 w 196811"/>
                <a:gd name="connsiteY20" fmla="*/ 205567 h 212964"/>
                <a:gd name="connsiteX21" fmla="*/ 179406 w 196811"/>
                <a:gd name="connsiteY21" fmla="*/ 205719 h 212964"/>
                <a:gd name="connsiteX22" fmla="*/ 182414 w 196811"/>
                <a:gd name="connsiteY22" fmla="*/ 206012 h 21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6811" h="212964">
                  <a:moveTo>
                    <a:pt x="196812" y="165348"/>
                  </a:moveTo>
                  <a:lnTo>
                    <a:pt x="180635" y="165547"/>
                  </a:lnTo>
                  <a:lnTo>
                    <a:pt x="179828" y="166659"/>
                  </a:lnTo>
                  <a:cubicBezTo>
                    <a:pt x="163440" y="186839"/>
                    <a:pt x="146315" y="195044"/>
                    <a:pt x="118960" y="195922"/>
                  </a:cubicBezTo>
                  <a:cubicBezTo>
                    <a:pt x="100712" y="196577"/>
                    <a:pt x="83927" y="189824"/>
                    <a:pt x="70255" y="176585"/>
                  </a:cubicBezTo>
                  <a:cubicBezTo>
                    <a:pt x="52123" y="159027"/>
                    <a:pt x="41729" y="131859"/>
                    <a:pt x="41729" y="102023"/>
                  </a:cubicBezTo>
                  <a:cubicBezTo>
                    <a:pt x="41729" y="50403"/>
                    <a:pt x="70618" y="15720"/>
                    <a:pt x="113623" y="15720"/>
                  </a:cubicBezTo>
                  <a:cubicBezTo>
                    <a:pt x="143799" y="15720"/>
                    <a:pt x="168989" y="28994"/>
                    <a:pt x="179359" y="50391"/>
                  </a:cubicBezTo>
                  <a:lnTo>
                    <a:pt x="180155" y="51959"/>
                  </a:lnTo>
                  <a:lnTo>
                    <a:pt x="193558" y="51749"/>
                  </a:lnTo>
                  <a:lnTo>
                    <a:pt x="192259" y="9142"/>
                  </a:lnTo>
                  <a:lnTo>
                    <a:pt x="181267" y="9142"/>
                  </a:lnTo>
                  <a:lnTo>
                    <a:pt x="180694" y="9528"/>
                  </a:lnTo>
                  <a:cubicBezTo>
                    <a:pt x="179431" y="10264"/>
                    <a:pt x="177970" y="10587"/>
                    <a:pt x="176515" y="10453"/>
                  </a:cubicBezTo>
                  <a:cubicBezTo>
                    <a:pt x="173928" y="10359"/>
                    <a:pt x="169492" y="9282"/>
                    <a:pt x="163768" y="7761"/>
                  </a:cubicBezTo>
                  <a:cubicBezTo>
                    <a:pt x="152039" y="4682"/>
                    <a:pt x="134259" y="0"/>
                    <a:pt x="112441" y="0"/>
                  </a:cubicBezTo>
                  <a:cubicBezTo>
                    <a:pt x="34765" y="0"/>
                    <a:pt x="0" y="55377"/>
                    <a:pt x="0" y="110275"/>
                  </a:cubicBezTo>
                  <a:cubicBezTo>
                    <a:pt x="0" y="172652"/>
                    <a:pt x="43192" y="212965"/>
                    <a:pt x="110029" y="212965"/>
                  </a:cubicBezTo>
                  <a:cubicBezTo>
                    <a:pt x="124965" y="212965"/>
                    <a:pt x="138461" y="210448"/>
                    <a:pt x="149382" y="208411"/>
                  </a:cubicBezTo>
                  <a:cubicBezTo>
                    <a:pt x="156745" y="207030"/>
                    <a:pt x="163838" y="205789"/>
                    <a:pt x="169808" y="205661"/>
                  </a:cubicBezTo>
                  <a:cubicBezTo>
                    <a:pt x="171119" y="205661"/>
                    <a:pt x="172032" y="205661"/>
                    <a:pt x="172804" y="205567"/>
                  </a:cubicBezTo>
                  <a:cubicBezTo>
                    <a:pt x="175006" y="205507"/>
                    <a:pt x="177209" y="205558"/>
                    <a:pt x="179406" y="205719"/>
                  </a:cubicBezTo>
                  <a:lnTo>
                    <a:pt x="182414" y="206012"/>
                  </a:lnTo>
                  <a:close/>
                </a:path>
              </a:pathLst>
            </a:custGeom>
            <a:grpFill/>
            <a:ln w="116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Inhaltsplatzhalter 9">
            <a:extLst>
              <a:ext uri="{FF2B5EF4-FFF2-40B4-BE49-F238E27FC236}">
                <a16:creationId xmlns:a16="http://schemas.microsoft.com/office/drawing/2014/main" id="{84ACD17D-69B1-0D31-0E70-D5919815A6E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9425" y="4032000"/>
            <a:ext cx="3600449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id="{C9E91A7D-A34B-FFA0-14CD-49796D5FB60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95775" y="4032000"/>
            <a:ext cx="3600450" cy="216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481246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2570">
          <p15:clr>
            <a:srgbClr val="FBAE40"/>
          </p15:clr>
        </p15:guide>
        <p15:guide id="3" pos="2706">
          <p15:clr>
            <a:srgbClr val="FBAE40"/>
          </p15:clr>
        </p15:guide>
        <p15:guide id="4" pos="5110">
          <p15:clr>
            <a:srgbClr val="FBAE40"/>
          </p15:clr>
        </p15:guide>
        <p15:guide id="5" orient="horz" pos="2432">
          <p15:clr>
            <a:srgbClr val="FBAE40"/>
          </p15:clr>
        </p15:guide>
        <p15:guide id="6" orient="horz" pos="25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799" y="719999"/>
            <a:ext cx="11233927" cy="6156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5CE9A30-C9AE-3917-8A79-651505040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92000"/>
            <a:ext cx="11221201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64075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  <p:sldLayoutId id="2147483796" r:id="rId27"/>
    <p:sldLayoutId id="2147483797" r:id="rId2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Symbol" pitchFamily="2" charset="2"/>
        <a:buChar char="-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rabi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+mj-lt"/>
        <a:buAutoNum type="alphaLcPeriod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1063">
          <p15:clr>
            <a:srgbClr val="F26B43"/>
          </p15:clr>
        </p15:guide>
        <p15:guide id="4" pos="302">
          <p15:clr>
            <a:srgbClr val="F26B43"/>
          </p15:clr>
        </p15:guide>
        <p15:guide id="5" pos="7378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407493-1651-DC20-3673-08A127F69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19999"/>
            <a:ext cx="11232000" cy="61560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Mastertitelformat bearbeiten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A2075-B767-A0E7-D40F-8D9F91D37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>
          <a:xfrm>
            <a:off x="478800" y="1692000"/>
            <a:ext cx="11232000" cy="45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Überschrift</a:t>
            </a:r>
          </a:p>
          <a:p>
            <a:pPr lvl="1"/>
            <a:r>
              <a:rPr lang="de-DE"/>
              <a:t>Haupttext</a:t>
            </a:r>
          </a:p>
          <a:p>
            <a:pPr lvl="2"/>
            <a:r>
              <a:rPr lang="de-DE"/>
              <a:t>Erste Aufzählungsebene</a:t>
            </a:r>
          </a:p>
          <a:p>
            <a:pPr lvl="3"/>
            <a:r>
              <a:rPr lang="de-DE"/>
              <a:t>Zweite Aufzählungsebene</a:t>
            </a:r>
          </a:p>
          <a:p>
            <a:pPr lvl="4"/>
            <a:r>
              <a:rPr lang="de-DE"/>
              <a:t>Erste </a:t>
            </a:r>
            <a:r>
              <a:rPr lang="de-DE" err="1"/>
              <a:t>Nummerierungsebene</a:t>
            </a:r>
            <a:endParaRPr lang="de-DE"/>
          </a:p>
          <a:p>
            <a:pPr lvl="5"/>
            <a:r>
              <a:rPr lang="de-DE"/>
              <a:t>Zweite </a:t>
            </a:r>
            <a:r>
              <a:rPr lang="de-DE" err="1"/>
              <a:t>Nummerierungsebene</a:t>
            </a:r>
            <a:endParaRPr lang="de-DE"/>
          </a:p>
          <a:p>
            <a:pPr lvl="6"/>
            <a:r>
              <a:rPr lang="de-DE"/>
              <a:t>BLAUE ZWISCHENÜBERSCHRIFT</a:t>
            </a:r>
          </a:p>
          <a:p>
            <a:pPr lvl="7"/>
            <a:r>
              <a:rPr lang="de-DE"/>
              <a:t>GRÜNE ZWISCHENÜBERSCHRIFT</a:t>
            </a:r>
          </a:p>
          <a:p>
            <a:pPr lvl="8"/>
            <a:r>
              <a:rPr lang="de-DE"/>
              <a:t>Fußzei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951DED-992C-C7B7-1C4D-C8EC85A99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8800" y="6555600"/>
            <a:ext cx="662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.02.2024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64428B-05F9-FA76-89F9-D8C8375E84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23600" y="6555600"/>
            <a:ext cx="8964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nacor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echnologies AG</a:t>
            </a:r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5C602-747D-3F65-F3A6-7B2B5D91D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2800" y="6555600"/>
            <a:ext cx="4572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DBB63-5C76-DA40-949C-F00FB53C9B50}" type="slidenum">
              <a:rPr kumimoji="0" lang="en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D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34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  <p:sldLayoutId id="2147483788" r:id="rId28"/>
    <p:sldLayoutId id="2147483789" r:id="rId29"/>
    <p:sldLayoutId id="2147483790" r:id="rId30"/>
    <p:sldLayoutId id="2147483791" r:id="rId31"/>
    <p:sldLayoutId id="2147483792" r:id="rId32"/>
    <p:sldLayoutId id="2147483793" r:id="rId33"/>
    <p:sldLayoutId id="2147483794" r:id="rId3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 typeface="Arial" panose="020B0604020202020204" pitchFamily="34" charset="0"/>
        <a:buNone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Wingdings" panose="05000000000000000000" pitchFamily="2" charset="2"/>
        <a:buChar char="§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rabi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Clr>
          <a:schemeClr val="bg1"/>
        </a:buClr>
        <a:buFont typeface="+mj-lt"/>
        <a:buAutoNum type="alphaLcPeriod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400" b="1" kern="1200">
          <a:solidFill>
            <a:schemeClr val="accent2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400"/>
        </a:spcAft>
        <a:buFontTx/>
        <a:buNone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78">
          <p15:clr>
            <a:srgbClr val="F26B43"/>
          </p15:clr>
        </p15:guide>
        <p15:guide id="5" orient="horz" pos="1063">
          <p15:clr>
            <a:srgbClr val="F26B43"/>
          </p15:clr>
        </p15:guide>
        <p15:guide id="6" orient="horz" pos="4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C46CB4C-5F6A-D062-7972-C424E49F1F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C8939BF-9234-FFB2-4F27-1966C7494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m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03F153-0AB9-AE96-8578-A7F30070EC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enacor Technologies AG</a:t>
            </a:r>
            <a:endParaRPr lang="en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F0B974-A25D-535F-F28E-44364717EB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1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4A53F4F-D508-EC07-8D4B-82CE9F4DD6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EAD </a:t>
            </a:r>
            <a:r>
              <a:rPr lang="de-DE" dirty="0" err="1"/>
              <a:t>developer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C44AFB2-E434-A3F5-7633-7577DED590D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9BA8FC9-03A2-9AC1-D64A-77CE72A64ED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2FF1A088-3CF5-5031-CA0B-42D56A226A42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F478609-7FF9-3C67-DAFE-921A780ECB3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36158" y="1050848"/>
            <a:ext cx="796412" cy="3635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9486CF-AE6A-13FE-40A7-D6E688E73A8A}"/>
              </a:ext>
            </a:extLst>
          </p:cNvPr>
          <p:cNvSpPr txBox="1">
            <a:spLocks/>
          </p:cNvSpPr>
          <p:nvPr/>
        </p:nvSpPr>
        <p:spPr>
          <a:xfrm>
            <a:off x="3178064" y="1117562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64CF9EC-B193-937A-42A7-FF7911C6F1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84354" y="1223731"/>
            <a:ext cx="3755594" cy="190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1FACB30-1FA0-8FDB-8116-DE614082FA1D}"/>
              </a:ext>
            </a:extLst>
          </p:cNvPr>
          <p:cNvSpPr txBox="1">
            <a:spLocks/>
          </p:cNvSpPr>
          <p:nvPr/>
        </p:nvSpPr>
        <p:spPr>
          <a:xfrm>
            <a:off x="6608046" y="1117641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PROFESSIONAL EXPERIENCE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FF7BA2E-45A4-29F9-1278-CA3E2A1EC3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8798" y="3776012"/>
            <a:ext cx="3214778" cy="219389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0B1B436-C9F9-66B3-5164-2DA261736F34}"/>
              </a:ext>
            </a:extLst>
          </p:cNvPr>
          <p:cNvSpPr txBox="1">
            <a:spLocks/>
          </p:cNvSpPr>
          <p:nvPr/>
        </p:nvSpPr>
        <p:spPr>
          <a:xfrm>
            <a:off x="411155" y="3691363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HISTORY (EXCERPT)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D75B7590-EF9C-D8C5-EE4A-C6B837147638}"/>
              </a:ext>
            </a:extLst>
          </p:cNvPr>
          <p:cNvSpPr txBox="1"/>
          <p:nvPr/>
        </p:nvSpPr>
        <p:spPr>
          <a:xfrm>
            <a:off x="7410893" y="1658679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180000" indent="-180000"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</a:pPr>
            <a:endParaRPr lang="pl-PL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DD8E4BBF-2DD7-7F32-BC9B-CF038D51CF25}"/>
              </a:ext>
            </a:extLst>
          </p:cNvPr>
          <p:cNvSpPr txBox="1"/>
          <p:nvPr/>
        </p:nvSpPr>
        <p:spPr>
          <a:xfrm>
            <a:off x="3897086" y="2754086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180000" indent="-180000"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</a:pPr>
            <a:endParaRPr lang="pl-PL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6CB2EB4-3834-607B-0A00-A7D24540B53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87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98E8B-52AF-30A6-B207-FA787ADCA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86BC496-A0D3-9998-E5F8-95F34260C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13BA3-4DBD-492F-AF1C-C76B12832872}" type="datetime1">
              <a:rPr lang="de-DE" smtClean="0"/>
              <a:pPr/>
              <a:t>03.06.25</a:t>
            </a:fld>
            <a:endParaRPr lang="en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D54571-E569-D1CF-CD4D-953AF0A48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otr Merski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3876F8-8B13-E952-8E40-A8EADE0481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Senacor Technologies AG</a:t>
            </a:r>
            <a:endParaRPr lang="en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17F2E6-3E3C-B052-4804-6F08BDBC56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3DBB63-5C76-DA40-949C-F00FB53C9B50}" type="slidenum">
              <a:rPr lang="en-DE" smtClean="0"/>
              <a:pPr/>
              <a:t>2</a:t>
            </a:fld>
            <a:endParaRPr lang="en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B9F6642-1287-E03F-B976-727F9FE625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EAD </a:t>
            </a:r>
            <a:r>
              <a:rPr lang="de-DE" dirty="0" err="1"/>
              <a:t>developer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FE5F903-DB02-A9DE-9364-9DE128A9BED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E43EA6A-368B-DD28-DFBF-893632EB9DE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D281710E-EEED-DE8E-3AB5-8DE38CC63D07}"/>
              </a:ext>
            </a:extLst>
          </p:cNvPr>
          <p:cNvSpPr txBox="1">
            <a:spLocks noChangeAspect="1"/>
          </p:cNvSpPr>
          <p:nvPr/>
        </p:nvSpPr>
        <p:spPr>
          <a:xfrm>
            <a:off x="485282" y="4101476"/>
            <a:ext cx="5501753" cy="228124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800"/>
              </a:spcAft>
              <a:buFont typeface="Wingdings" panose="05000000000000000000" pitchFamily="2" charset="2"/>
              <a:buNone/>
              <a:defRPr sz="16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6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288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5963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bg1"/>
              </a:buClr>
            </a:pPr>
            <a:endParaRPr lang="de-DE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70258C3-142E-D579-707D-1C958B8C5A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36158" y="1050848"/>
            <a:ext cx="796412" cy="3635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17DF339-BBC5-11A7-866B-8F00B4E4B6F0}"/>
              </a:ext>
            </a:extLst>
          </p:cNvPr>
          <p:cNvSpPr txBox="1">
            <a:spLocks/>
          </p:cNvSpPr>
          <p:nvPr/>
        </p:nvSpPr>
        <p:spPr>
          <a:xfrm>
            <a:off x="3178064" y="1117562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D9DC232-7382-30E9-11E8-C973C678E2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84354" y="1223731"/>
            <a:ext cx="3755594" cy="190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44D3A04-6A41-4321-3E91-284C44658A60}"/>
              </a:ext>
            </a:extLst>
          </p:cNvPr>
          <p:cNvSpPr txBox="1">
            <a:spLocks/>
          </p:cNvSpPr>
          <p:nvPr/>
        </p:nvSpPr>
        <p:spPr>
          <a:xfrm>
            <a:off x="6608046" y="1117641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PROFESSIONAL EXPERIENCE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79D6617-CEDB-8045-023A-1065A0768E1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8798" y="3776012"/>
            <a:ext cx="3214778" cy="219389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6C98E5D-2D3D-83CE-EF23-797B41561402}"/>
              </a:ext>
            </a:extLst>
          </p:cNvPr>
          <p:cNvSpPr txBox="1">
            <a:spLocks/>
          </p:cNvSpPr>
          <p:nvPr/>
        </p:nvSpPr>
        <p:spPr>
          <a:xfrm>
            <a:off x="411155" y="3691363"/>
            <a:ext cx="914400" cy="33025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r>
              <a:rPr lang="de-DE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HISTORY (EXCERPT)</a:t>
            </a:r>
            <a:endParaRPr lang="de-DE" sz="1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FEB44484-62F7-A8C5-AB85-988318166C39}"/>
              </a:ext>
            </a:extLst>
          </p:cNvPr>
          <p:cNvSpPr txBox="1"/>
          <p:nvPr/>
        </p:nvSpPr>
        <p:spPr>
          <a:xfrm>
            <a:off x="7410893" y="1658679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180000" indent="-180000"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</a:pPr>
            <a:endParaRPr lang="pl-PL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58A56875-0E1D-6F41-288F-218EE80EA0FB}"/>
              </a:ext>
            </a:extLst>
          </p:cNvPr>
          <p:cNvSpPr txBox="1"/>
          <p:nvPr/>
        </p:nvSpPr>
        <p:spPr>
          <a:xfrm>
            <a:off x="3897086" y="2754086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180000" indent="-180000" algn="l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</a:pPr>
            <a:endParaRPr lang="pl-PL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C3B1E45-EC2D-B4C0-D575-EBE56842FFF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068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pgivOAYlmRYRRBBDztg"/>
</p:tagLst>
</file>

<file path=ppt/theme/theme1.xml><?xml version="1.0" encoding="utf-8"?>
<a:theme xmlns:a="http://schemas.openxmlformats.org/drawingml/2006/main" name="4_Senacor 2023 (Light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80000" indent="-180000" algn="l">
          <a:lnSpc>
            <a:spcPct val="110000"/>
          </a:lnSpc>
          <a:spcBef>
            <a:spcPts val="400"/>
          </a:spcBef>
          <a:spcAft>
            <a:spcPts val="400"/>
          </a:spcAft>
          <a:buFont typeface="Wingdings" pitchFamily="2" charset="2"/>
          <a:buChar char="§"/>
          <a:defRPr sz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2023 Design" id="{2CA9BC13-F80B-4613-ABA7-5709D830275C}" vid="{AB471A79-B682-400B-9E72-8ACC93ECDCB0}"/>
    </a:ext>
  </a:extLst>
</a:theme>
</file>

<file path=ppt/theme/theme2.xml><?xml version="1.0" encoding="utf-8"?>
<a:theme xmlns:a="http://schemas.openxmlformats.org/drawingml/2006/main" name="1_Senacor 2023 (Dark)">
  <a:themeElements>
    <a:clrScheme name="Senacor PPT 2023">
      <a:dk1>
        <a:srgbClr val="000000"/>
      </a:dk1>
      <a:lt1>
        <a:srgbClr val="FFFFFF"/>
      </a:lt1>
      <a:dk2>
        <a:srgbClr val="929292"/>
      </a:dk2>
      <a:lt2>
        <a:srgbClr val="373737"/>
      </a:lt2>
      <a:accent1>
        <a:srgbClr val="7091C8"/>
      </a:accent1>
      <a:accent2>
        <a:srgbClr val="82B8A1"/>
      </a:accent2>
      <a:accent3>
        <a:srgbClr val="C4C4C4"/>
      </a:accent3>
      <a:accent4>
        <a:srgbClr val="A8A8A8"/>
      </a:accent4>
      <a:accent5>
        <a:srgbClr val="D0D0D0"/>
      </a:accent5>
      <a:accent6>
        <a:srgbClr val="F6C111"/>
      </a:accent6>
      <a:hlink>
        <a:srgbClr val="7191C8"/>
      </a:hlink>
      <a:folHlink>
        <a:srgbClr val="596A8E"/>
      </a:folHlink>
    </a:clrScheme>
    <a:fontScheme name="Sena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noAutofit/>
      </a:bodyPr>
      <a:lstStyle>
        <a:defPPr marL="171450" indent="-171450" algn="l">
          <a:spcAft>
            <a:spcPts val="330"/>
          </a:spcAft>
          <a:buFont typeface="Wingdings" pitchFamily="2" charset="2"/>
          <a:buChar char="§"/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nacor Master_2023" id="{69E2B91C-73F8-3141-9371-DDB6FAB7484B}" vid="{D24E23BC-4089-724E-AE17-D279E1740A09}"/>
    </a:ext>
  </a:extLst>
</a:theme>
</file>

<file path=ppt/theme/theme3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ppt/theme/themeOverride2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ppt/theme/themeOverride3.xml><?xml version="1.0" encoding="utf-8"?>
<a:themeOverride xmlns:a="http://schemas.openxmlformats.org/drawingml/2006/main">
  <a:clrScheme name="Senacor PPT 2023">
    <a:dk1>
      <a:srgbClr val="000000"/>
    </a:dk1>
    <a:lt1>
      <a:srgbClr val="FFFFFF"/>
    </a:lt1>
    <a:dk2>
      <a:srgbClr val="929292"/>
    </a:dk2>
    <a:lt2>
      <a:srgbClr val="373737"/>
    </a:lt2>
    <a:accent1>
      <a:srgbClr val="7091C8"/>
    </a:accent1>
    <a:accent2>
      <a:srgbClr val="82B8A1"/>
    </a:accent2>
    <a:accent3>
      <a:srgbClr val="C4C4C4"/>
    </a:accent3>
    <a:accent4>
      <a:srgbClr val="A8A8A8"/>
    </a:accent4>
    <a:accent5>
      <a:srgbClr val="D0D0D0"/>
    </a:accent5>
    <a:accent6>
      <a:srgbClr val="F6C111"/>
    </a:accent6>
    <a:hlink>
      <a:srgbClr val="7191C8"/>
    </a:hlink>
    <a:folHlink>
      <a:srgbClr val="596A8E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70c37c3-6fe6-4316-bb79-6c535e774478">
      <Terms xmlns="http://schemas.microsoft.com/office/infopath/2007/PartnerControls"/>
    </lcf76f155ced4ddcb4097134ff3c332f>
    <SharedWithUsers xmlns="f247cc86-41ce-4e54-895f-61d07d03751e">
      <UserInfo>
        <DisplayName/>
        <AccountId xsi:nil="true"/>
        <AccountType/>
      </UserInfo>
    </SharedWithUsers>
    <TaxCatchAll xmlns="f247cc86-41ce-4e54-895f-61d07d03751e" xsi:nil="true"/>
    <Personen xmlns="c70c37c3-6fe6-4316-bb79-6c535e774478">
      <UserInfo>
        <DisplayName/>
        <AccountId xsi:nil="true"/>
        <AccountType/>
      </UserInfo>
    </Persone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369A2B9592B44C89D12E69AC892C99" ma:contentTypeVersion="13" ma:contentTypeDescription="Create a new document." ma:contentTypeScope="" ma:versionID="5d62b34adee5f8c188b484f245c8e4b3">
  <xsd:schema xmlns:xsd="http://www.w3.org/2001/XMLSchema" xmlns:xs="http://www.w3.org/2001/XMLSchema" xmlns:p="http://schemas.microsoft.com/office/2006/metadata/properties" xmlns:ns2="c70c37c3-6fe6-4316-bb79-6c535e774478" xmlns:ns3="f247cc86-41ce-4e54-895f-61d07d03751e" targetNamespace="http://schemas.microsoft.com/office/2006/metadata/properties" ma:root="true" ma:fieldsID="5a5f57b8f0e417d9680f4ee757ce1c1d" ns2:_="" ns3:_="">
    <xsd:import namespace="c70c37c3-6fe6-4316-bb79-6c535e774478"/>
    <xsd:import namespace="f247cc86-41ce-4e54-895f-61d07d0375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Person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0c37c3-6fe6-4316-bb79-6c535e7744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3ea49aa2-03d1-4c4a-9f28-6baa57d9157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Personen" ma:index="19" nillable="true" ma:displayName="Personen" ma:format="Dropdown" ma:list="UserInfo" ma:SharePointGroup="0" ma:internalName="Persone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47cc86-41ce-4e54-895f-61d07d03751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1a96274e-1b24-44d9-8f5e-b12b3b3f589b}" ma:internalName="TaxCatchAll" ma:showField="CatchAllData" ma:web="f247cc86-41ce-4e54-895f-61d07d0375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4CFE88A-859A-4E2D-A693-55AAB4E99EE1}">
  <ds:schemaRefs>
    <ds:schemaRef ds:uri="http://purl.org/dc/terms/"/>
    <ds:schemaRef ds:uri="02199449-be5e-42a4-9e16-07f870f5ff4d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febcf1fe-e46f-4f21-b1ae-fec633a7a977"/>
    <ds:schemaRef ds:uri="ab6dc22b-3019-46af-8726-90bb52fbd72e"/>
    <ds:schemaRef ds:uri="e0877731-f1bf-46cd-9a40-6024291b04cb"/>
    <ds:schemaRef ds:uri="c70c37c3-6fe6-4316-bb79-6c535e774478"/>
    <ds:schemaRef ds:uri="f247cc86-41ce-4e54-895f-61d07d03751e"/>
  </ds:schemaRefs>
</ds:datastoreItem>
</file>

<file path=customXml/itemProps2.xml><?xml version="1.0" encoding="utf-8"?>
<ds:datastoreItem xmlns:ds="http://schemas.openxmlformats.org/officeDocument/2006/customXml" ds:itemID="{885A33CA-964A-4016-8C15-C55D1F2A681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57D625-883B-429E-AF08-9D0B4BD698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0c37c3-6fe6-4316-bb79-6c535e774478"/>
    <ds:schemaRef ds:uri="f247cc86-41ce-4e54-895f-61d07d0375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2497ec2-0945-4f55-8021-79766363dd96}" enabled="0" method="" siteId="{52497ec2-0945-4f55-8021-79766363dd9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</TotalTime>
  <Words>37</Words>
  <Application>Microsoft Macintosh PowerPoint</Application>
  <PresentationFormat>Widescreen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Barlow</vt:lpstr>
      <vt:lpstr>Symbol</vt:lpstr>
      <vt:lpstr>Verdana</vt:lpstr>
      <vt:lpstr>Wingdings</vt:lpstr>
      <vt:lpstr>4_Senacor 2023 (Light)</vt:lpstr>
      <vt:lpstr>1_Senacor 2023 (Dark)</vt:lpstr>
      <vt:lpstr>think-cell Folie</vt:lpstr>
      <vt:lpstr>Name</vt:lpstr>
      <vt:lpstr>Piotr Merski</vt:lpstr>
    </vt:vector>
  </TitlesOfParts>
  <Company>Senacor Technolog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Esser, Kerstin</dc:creator>
  <dc:description/>
  <cp:lastModifiedBy>Heinrich, Daniel</cp:lastModifiedBy>
  <cp:revision>17</cp:revision>
  <cp:lastPrinted>2019-01-22T11:04:03Z</cp:lastPrinted>
  <dcterms:created xsi:type="dcterms:W3CDTF">2012-12-10T08:26:50Z</dcterms:created>
  <dcterms:modified xsi:type="dcterms:W3CDTF">2025-06-03T10:4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d9ff78aa-8d98-4d16-9af0-48185a03808a</vt:lpwstr>
  </property>
  <property fmtid="{D5CDD505-2E9C-101B-9397-08002B2CF9AE}" pid="3" name="ContentTypeId">
    <vt:lpwstr>0x010100ED369A2B9592B44C89D12E69AC892C99</vt:lpwstr>
  </property>
  <property fmtid="{D5CDD505-2E9C-101B-9397-08002B2CF9AE}" pid="4" name="MediaServiceImageTags">
    <vt:lpwstr/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</Properties>
</file>